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  <p:sldMasterId id="2147483705" r:id="rId5"/>
  </p:sldMasterIdLst>
  <p:notesMasterIdLst>
    <p:notesMasterId r:id="rId7"/>
  </p:notesMasterIdLst>
  <p:sldIdLst>
    <p:sldId id="363" r:id="rId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B2324037-4C5C-DA47-AA5A-4CCBFF07F156}">
          <p14:sldIdLst/>
        </p14:section>
        <p14:section name="Capgemini SRE Offering" id="{AEEB4A6A-99C8-264A-AA96-3EA1CCD3EFF5}">
          <p14:sldIdLst>
            <p14:sldId id="363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FC3A166-30B9-1E15-8ED9-1C746E14BC73}" name="Bagewadi, PRASHANT BAGEWADI" initials="BPB" userId="S::prashant.bagewadi@capgemini.com::90f7efd4-e918-4d03-acfc-0199836d1351" providerId="AD"/>
  <p188:author id="{47BFD2B1-31BE-9987-EC68-6B805532F7B6}" name="Masanal, Ravikanth" initials="MR" userId="S::ravikanth.masanal@capgemini.com::15995e6b-bf71-4110-8928-308fb3e51c85" providerId="AD"/>
  <p188:author id="{C6216ADF-47C5-A4A2-1E46-C6D5299703F3}" name="Krishnagiri, Yogesh Kumar" initials="KYK" userId="S::yogesh-kumar.krishnagiri@capgemini.com::3f0aa55f-1fab-4628-8990-754f209e6ae4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59" d="100"/>
          <a:sy n="59" d="100"/>
        </p:scale>
        <p:origin x="876" y="2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microsoft.com/office/2018/10/relationships/authors" Target="author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F96CC0D-1900-2C41-BBC2-AD84A9908293}" type="datetimeFigureOut">
              <a:rPr lang="en-US" smtClean="0"/>
              <a:t>5/5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04D4A90-B3C7-7741-A795-2C1D0127E8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04207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04D4A90-B3C7-7741-A795-2C1D0127E8D9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4544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hyperlink" Target="http://www.facebook.com/capgemini" TargetMode="External"/><Relationship Id="rId7" Type="http://schemas.openxmlformats.org/officeDocument/2006/relationships/hyperlink" Target="http://www.slideshare.net/capgemini" TargetMode="External"/><Relationship Id="rId12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png"/><Relationship Id="rId11" Type="http://schemas.openxmlformats.org/officeDocument/2006/relationships/hyperlink" Target="http://www.youtube.com/capgeminimedia" TargetMode="External"/><Relationship Id="rId5" Type="http://schemas.openxmlformats.org/officeDocument/2006/relationships/hyperlink" Target="http://www.linkedin.com/company/capgemini" TargetMode="External"/><Relationship Id="rId10" Type="http://schemas.openxmlformats.org/officeDocument/2006/relationships/image" Target="../media/image5.png"/><Relationship Id="rId4" Type="http://schemas.openxmlformats.org/officeDocument/2006/relationships/image" Target="../media/image2.png"/><Relationship Id="rId9" Type="http://schemas.openxmlformats.org/officeDocument/2006/relationships/hyperlink" Target="http://www.twitter.com/capgemini" TargetMode="Externa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4" Type="http://schemas.openxmlformats.org/officeDocument/2006/relationships/image" Target="../media/image9.emf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hyperlink" Target="http://www.facebook.com/capgemini" TargetMode="External"/><Relationship Id="rId7" Type="http://schemas.openxmlformats.org/officeDocument/2006/relationships/hyperlink" Target="http://www.slideshare.net/capgemini" TargetMode="External"/><Relationship Id="rId12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png"/><Relationship Id="rId11" Type="http://schemas.openxmlformats.org/officeDocument/2006/relationships/hyperlink" Target="http://www.youtube.com/capgeminimedia" TargetMode="External"/><Relationship Id="rId5" Type="http://schemas.openxmlformats.org/officeDocument/2006/relationships/hyperlink" Target="http://www.linkedin.com/company/capgemini" TargetMode="External"/><Relationship Id="rId10" Type="http://schemas.openxmlformats.org/officeDocument/2006/relationships/image" Target="../media/image5.png"/><Relationship Id="rId4" Type="http://schemas.openxmlformats.org/officeDocument/2006/relationships/image" Target="../media/image2.png"/><Relationship Id="rId9" Type="http://schemas.openxmlformats.org/officeDocument/2006/relationships/hyperlink" Target="http://www.twitter.com/capgemini" TargetMode="Externa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9.emf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5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hyperlink" Target="http://www.facebook.com/capgemini" TargetMode="External"/><Relationship Id="rId7" Type="http://schemas.openxmlformats.org/officeDocument/2006/relationships/hyperlink" Target="http://www.slideshare.net/capgemini" TargetMode="External"/><Relationship Id="rId12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png"/><Relationship Id="rId11" Type="http://schemas.openxmlformats.org/officeDocument/2006/relationships/hyperlink" Target="http://www.youtube.com/capgeminimedia" TargetMode="External"/><Relationship Id="rId5" Type="http://schemas.openxmlformats.org/officeDocument/2006/relationships/hyperlink" Target="http://www.linkedin.com/company/capgemini" TargetMode="External"/><Relationship Id="rId10" Type="http://schemas.openxmlformats.org/officeDocument/2006/relationships/image" Target="../media/image5.png"/><Relationship Id="rId4" Type="http://schemas.openxmlformats.org/officeDocument/2006/relationships/image" Target="../media/image2.png"/><Relationship Id="rId9" Type="http://schemas.openxmlformats.org/officeDocument/2006/relationships/hyperlink" Target="http://www.twitter.com/capgemini" TargetMode="Externa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al Slide 1">
    <p:bg>
      <p:bgPr>
        <a:solidFill>
          <a:srgbClr val="27293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Image 27">
            <a:extLst>
              <a:ext uri="{FF2B5EF4-FFF2-40B4-BE49-F238E27FC236}">
                <a16:creationId xmlns:a16="http://schemas.microsoft.com/office/drawing/2014/main" id="{CFD4BD67-7A96-4F02-AD8B-7157189FD65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50" t="23693" r="10370" b="21576"/>
          <a:stretch/>
        </p:blipFill>
        <p:spPr>
          <a:xfrm rot="1808368" flipV="1">
            <a:off x="4403152" y="337083"/>
            <a:ext cx="8831279" cy="4103533"/>
          </a:xfrm>
          <a:prstGeom prst="rect">
            <a:avLst/>
          </a:prstGeom>
        </p:spPr>
      </p:pic>
      <p:pic>
        <p:nvPicPr>
          <p:cNvPr id="21" name="Picture 7" descr="facebook">
            <a:hlinkClick r:id="rId3"/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26720" y="4968013"/>
            <a:ext cx="333195" cy="333195"/>
          </a:xfrm>
          <a:prstGeom prst="rect">
            <a:avLst/>
          </a:prstGeom>
          <a:noFill/>
        </p:spPr>
      </p:pic>
      <p:pic>
        <p:nvPicPr>
          <p:cNvPr id="17" name="Picture 2" descr="LinkedIn">
            <a:hlinkClick r:id="rId5"/>
          </p:cNvPr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10097" y="4968013"/>
            <a:ext cx="333195" cy="333195"/>
          </a:xfrm>
          <a:prstGeom prst="rect">
            <a:avLst/>
          </a:prstGeom>
          <a:noFill/>
        </p:spPr>
      </p:pic>
      <p:pic>
        <p:nvPicPr>
          <p:cNvPr id="18" name="Picture 4" descr="SlideShare">
            <a:hlinkClick r:id="rId7"/>
          </p:cNvPr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193474" y="4968013"/>
            <a:ext cx="333195" cy="333195"/>
          </a:xfrm>
          <a:prstGeom prst="rect">
            <a:avLst/>
          </a:prstGeom>
          <a:noFill/>
        </p:spPr>
      </p:pic>
      <p:pic>
        <p:nvPicPr>
          <p:cNvPr id="19" name="Picture 5" descr="Twitter">
            <a:hlinkClick r:id="rId9"/>
          </p:cNvPr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576851" y="4968013"/>
            <a:ext cx="333195" cy="333195"/>
          </a:xfrm>
          <a:prstGeom prst="rect">
            <a:avLst/>
          </a:prstGeom>
          <a:noFill/>
        </p:spPr>
      </p:pic>
      <p:pic>
        <p:nvPicPr>
          <p:cNvPr id="20" name="Picture 6" descr="YouTube">
            <a:hlinkClick r:id="rId11"/>
          </p:cNvPr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1960227" y="4968013"/>
            <a:ext cx="333195" cy="333195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/>
        </p:nvSpPr>
        <p:spPr>
          <a:xfrm>
            <a:off x="426720" y="5810190"/>
            <a:ext cx="3293016" cy="40011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700" noProof="0">
                <a:solidFill>
                  <a:schemeClr val="bg1"/>
                </a:solidFill>
                <a:latin typeface="Ubuntu" panose="020B0504030602030204" pitchFamily="34" charset="0"/>
                <a:cs typeface="Arial"/>
              </a:rPr>
              <a:t>This presentation contains information that may be privileged or confidential and is the property of the Capgemini Group.</a:t>
            </a:r>
          </a:p>
          <a:p>
            <a:pPr>
              <a:spcAft>
                <a:spcPts val="600"/>
              </a:spcAft>
            </a:pPr>
            <a:r>
              <a:rPr lang="en-US" sz="700" noProof="0">
                <a:solidFill>
                  <a:schemeClr val="bg1"/>
                </a:solidFill>
                <a:latin typeface="Ubuntu" panose="020B0504030602030204" pitchFamily="34" charset="0"/>
                <a:cs typeface="Arial"/>
              </a:rPr>
              <a:t>Copyright © 2022 Capgemini. All rights reserved.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D2BF7E9C-FD5C-450A-A1FB-17FC5765ED64}"/>
              </a:ext>
            </a:extLst>
          </p:cNvPr>
          <p:cNvGrpSpPr>
            <a:grpSpLocks noChangeAspect="1"/>
          </p:cNvGrpSpPr>
          <p:nvPr/>
        </p:nvGrpSpPr>
        <p:grpSpPr>
          <a:xfrm>
            <a:off x="411020" y="984393"/>
            <a:ext cx="2231297" cy="501650"/>
            <a:chOff x="9550400" y="612775"/>
            <a:chExt cx="2231297" cy="501650"/>
          </a:xfrm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DD26A2F9-4026-4DA7-B00A-AE48A8B0CD4D}"/>
                </a:ext>
              </a:extLst>
            </p:cNvPr>
            <p:cNvSpPr/>
            <p:nvPr/>
          </p:nvSpPr>
          <p:spPr>
            <a:xfrm>
              <a:off x="11517270" y="764033"/>
              <a:ext cx="261161" cy="212194"/>
            </a:xfrm>
            <a:custGeom>
              <a:avLst/>
              <a:gdLst>
                <a:gd name="connsiteX0" fmla="*/ 304324 w 457200"/>
                <a:gd name="connsiteY0" fmla="*/ 261461 h 371475"/>
                <a:gd name="connsiteX1" fmla="*/ 456724 w 457200"/>
                <a:gd name="connsiteY1" fmla="*/ 110014 h 371475"/>
                <a:gd name="connsiteX2" fmla="*/ 344329 w 457200"/>
                <a:gd name="connsiteY2" fmla="*/ 7144 h 371475"/>
                <a:gd name="connsiteX3" fmla="*/ 125254 w 457200"/>
                <a:gd name="connsiteY3" fmla="*/ 241459 h 371475"/>
                <a:gd name="connsiteX4" fmla="*/ 7144 w 457200"/>
                <a:gd name="connsiteY4" fmla="*/ 348139 h 371475"/>
                <a:gd name="connsiteX5" fmla="*/ 96679 w 457200"/>
                <a:gd name="connsiteY5" fmla="*/ 372904 h 371475"/>
                <a:gd name="connsiteX6" fmla="*/ 306229 w 457200"/>
                <a:gd name="connsiteY6" fmla="*/ 304324 h 371475"/>
                <a:gd name="connsiteX7" fmla="*/ 200501 w 457200"/>
                <a:gd name="connsiteY7" fmla="*/ 210026 h 371475"/>
                <a:gd name="connsiteX8" fmla="*/ 304324 w 457200"/>
                <a:gd name="connsiteY8" fmla="*/ 261461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57200" h="371475">
                  <a:moveTo>
                    <a:pt x="304324" y="261461"/>
                  </a:moveTo>
                  <a:cubicBezTo>
                    <a:pt x="390049" y="261461"/>
                    <a:pt x="455771" y="191929"/>
                    <a:pt x="456724" y="110014"/>
                  </a:cubicBezTo>
                  <a:cubicBezTo>
                    <a:pt x="451009" y="73819"/>
                    <a:pt x="438626" y="7144"/>
                    <a:pt x="344329" y="7144"/>
                  </a:cubicBezTo>
                  <a:cubicBezTo>
                    <a:pt x="242411" y="7144"/>
                    <a:pt x="208121" y="150019"/>
                    <a:pt x="125254" y="241459"/>
                  </a:cubicBezTo>
                  <a:cubicBezTo>
                    <a:pt x="118586" y="293846"/>
                    <a:pt x="69056" y="340519"/>
                    <a:pt x="7144" y="348139"/>
                  </a:cubicBezTo>
                  <a:cubicBezTo>
                    <a:pt x="22384" y="364331"/>
                    <a:pt x="55721" y="372904"/>
                    <a:pt x="96679" y="372904"/>
                  </a:cubicBezTo>
                  <a:cubicBezTo>
                    <a:pt x="170021" y="372904"/>
                    <a:pt x="259556" y="350996"/>
                    <a:pt x="306229" y="304324"/>
                  </a:cubicBezTo>
                  <a:cubicBezTo>
                    <a:pt x="244316" y="305276"/>
                    <a:pt x="204311" y="265271"/>
                    <a:pt x="200501" y="210026"/>
                  </a:cubicBezTo>
                  <a:cubicBezTo>
                    <a:pt x="230029" y="247174"/>
                    <a:pt x="264319" y="261461"/>
                    <a:pt x="304324" y="261461"/>
                  </a:cubicBezTo>
                  <a:close/>
                </a:path>
              </a:pathLst>
            </a:custGeom>
            <a:solidFill>
              <a:srgbClr val="17ABDB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0DCE7524-34A1-429B-91AD-74BE1F944E06}"/>
                </a:ext>
              </a:extLst>
            </p:cNvPr>
            <p:cNvSpPr/>
            <p:nvPr/>
          </p:nvSpPr>
          <p:spPr>
            <a:xfrm>
              <a:off x="9550400" y="619305"/>
              <a:ext cx="1811806" cy="495120"/>
            </a:xfrm>
            <a:custGeom>
              <a:avLst/>
              <a:gdLst>
                <a:gd name="connsiteX0" fmla="*/ 3092291 w 3171825"/>
                <a:gd name="connsiteY0" fmla="*/ 287179 h 866775"/>
                <a:gd name="connsiteX1" fmla="*/ 3059907 w 3171825"/>
                <a:gd name="connsiteY1" fmla="*/ 211931 h 866775"/>
                <a:gd name="connsiteX2" fmla="*/ 3027521 w 3171825"/>
                <a:gd name="connsiteY2" fmla="*/ 218599 h 866775"/>
                <a:gd name="connsiteX3" fmla="*/ 2960846 w 3171825"/>
                <a:gd name="connsiteY3" fmla="*/ 507206 h 866775"/>
                <a:gd name="connsiteX4" fmla="*/ 2816066 w 3171825"/>
                <a:gd name="connsiteY4" fmla="*/ 178594 h 866775"/>
                <a:gd name="connsiteX5" fmla="*/ 2679859 w 3171825"/>
                <a:gd name="connsiteY5" fmla="*/ 440531 h 866775"/>
                <a:gd name="connsiteX6" fmla="*/ 2670334 w 3171825"/>
                <a:gd name="connsiteY6" fmla="*/ 319564 h 866775"/>
                <a:gd name="connsiteX7" fmla="*/ 2677001 w 3171825"/>
                <a:gd name="connsiteY7" fmla="*/ 254794 h 866775"/>
                <a:gd name="connsiteX8" fmla="*/ 2611279 w 3171825"/>
                <a:gd name="connsiteY8" fmla="*/ 209074 h 866775"/>
                <a:gd name="connsiteX9" fmla="*/ 2533174 w 3171825"/>
                <a:gd name="connsiteY9" fmla="*/ 510064 h 866775"/>
                <a:gd name="connsiteX10" fmla="*/ 2470309 w 3171825"/>
                <a:gd name="connsiteY10" fmla="*/ 292894 h 866775"/>
                <a:gd name="connsiteX11" fmla="*/ 2405539 w 3171825"/>
                <a:gd name="connsiteY11" fmla="*/ 208121 h 866775"/>
                <a:gd name="connsiteX12" fmla="*/ 2325529 w 3171825"/>
                <a:gd name="connsiteY12" fmla="*/ 494824 h 866775"/>
                <a:gd name="connsiteX13" fmla="*/ 2206466 w 3171825"/>
                <a:gd name="connsiteY13" fmla="*/ 211931 h 866775"/>
                <a:gd name="connsiteX14" fmla="*/ 2087404 w 3171825"/>
                <a:gd name="connsiteY14" fmla="*/ 479584 h 866775"/>
                <a:gd name="connsiteX15" fmla="*/ 1983581 w 3171825"/>
                <a:gd name="connsiteY15" fmla="*/ 178594 h 866775"/>
                <a:gd name="connsiteX16" fmla="*/ 1877854 w 3171825"/>
                <a:gd name="connsiteY16" fmla="*/ 391954 h 866775"/>
                <a:gd name="connsiteX17" fmla="*/ 1867376 w 3171825"/>
                <a:gd name="connsiteY17" fmla="*/ 390049 h 866775"/>
                <a:gd name="connsiteX18" fmla="*/ 1866424 w 3171825"/>
                <a:gd name="connsiteY18" fmla="*/ 327184 h 866775"/>
                <a:gd name="connsiteX19" fmla="*/ 1807369 w 3171825"/>
                <a:gd name="connsiteY19" fmla="*/ 202406 h 866775"/>
                <a:gd name="connsiteX20" fmla="*/ 1654969 w 3171825"/>
                <a:gd name="connsiteY20" fmla="*/ 512921 h 866775"/>
                <a:gd name="connsiteX21" fmla="*/ 1592104 w 3171825"/>
                <a:gd name="connsiteY21" fmla="*/ 483394 h 866775"/>
                <a:gd name="connsiteX22" fmla="*/ 1719739 w 3171825"/>
                <a:gd name="connsiteY22" fmla="*/ 306229 h 866775"/>
                <a:gd name="connsiteX23" fmla="*/ 1619726 w 3171825"/>
                <a:gd name="connsiteY23" fmla="*/ 202406 h 866775"/>
                <a:gd name="connsiteX24" fmla="*/ 1483519 w 3171825"/>
                <a:gd name="connsiteY24" fmla="*/ 369094 h 866775"/>
                <a:gd name="connsiteX25" fmla="*/ 1503521 w 3171825"/>
                <a:gd name="connsiteY25" fmla="*/ 473869 h 866775"/>
                <a:gd name="connsiteX26" fmla="*/ 1418749 w 3171825"/>
                <a:gd name="connsiteY26" fmla="*/ 512921 h 866775"/>
                <a:gd name="connsiteX27" fmla="*/ 1400651 w 3171825"/>
                <a:gd name="connsiteY27" fmla="*/ 274796 h 866775"/>
                <a:gd name="connsiteX28" fmla="*/ 1336834 w 3171825"/>
                <a:gd name="connsiteY28" fmla="*/ 326231 h 866775"/>
                <a:gd name="connsiteX29" fmla="*/ 1262539 w 3171825"/>
                <a:gd name="connsiteY29" fmla="*/ 479584 h 866775"/>
                <a:gd name="connsiteX30" fmla="*/ 1223486 w 3171825"/>
                <a:gd name="connsiteY30" fmla="*/ 421481 h 866775"/>
                <a:gd name="connsiteX31" fmla="*/ 1402556 w 3171825"/>
                <a:gd name="connsiteY31" fmla="*/ 250031 h 866775"/>
                <a:gd name="connsiteX32" fmla="*/ 1343501 w 3171825"/>
                <a:gd name="connsiteY32" fmla="*/ 192881 h 866775"/>
                <a:gd name="connsiteX33" fmla="*/ 1181576 w 3171825"/>
                <a:gd name="connsiteY33" fmla="*/ 290989 h 866775"/>
                <a:gd name="connsiteX34" fmla="*/ 1086326 w 3171825"/>
                <a:gd name="connsiteY34" fmla="*/ 385286 h 866775"/>
                <a:gd name="connsiteX35" fmla="*/ 1088231 w 3171825"/>
                <a:gd name="connsiteY35" fmla="*/ 358616 h 866775"/>
                <a:gd name="connsiteX36" fmla="*/ 974884 w 3171825"/>
                <a:gd name="connsiteY36" fmla="*/ 204311 h 866775"/>
                <a:gd name="connsiteX37" fmla="*/ 883444 w 3171825"/>
                <a:gd name="connsiteY37" fmla="*/ 273844 h 866775"/>
                <a:gd name="connsiteX38" fmla="*/ 846296 w 3171825"/>
                <a:gd name="connsiteY38" fmla="*/ 213836 h 866775"/>
                <a:gd name="connsiteX39" fmla="*/ 805339 w 3171825"/>
                <a:gd name="connsiteY39" fmla="*/ 224314 h 866775"/>
                <a:gd name="connsiteX40" fmla="*/ 814864 w 3171825"/>
                <a:gd name="connsiteY40" fmla="*/ 334804 h 866775"/>
                <a:gd name="connsiteX41" fmla="*/ 742474 w 3171825"/>
                <a:gd name="connsiteY41" fmla="*/ 520541 h 866775"/>
                <a:gd name="connsiteX42" fmla="*/ 691991 w 3171825"/>
                <a:gd name="connsiteY42" fmla="*/ 309086 h 866775"/>
                <a:gd name="connsiteX43" fmla="*/ 671989 w 3171825"/>
                <a:gd name="connsiteY43" fmla="*/ 305276 h 866775"/>
                <a:gd name="connsiteX44" fmla="*/ 621506 w 3171825"/>
                <a:gd name="connsiteY44" fmla="*/ 399574 h 866775"/>
                <a:gd name="connsiteX45" fmla="*/ 539591 w 3171825"/>
                <a:gd name="connsiteY45" fmla="*/ 512921 h 866775"/>
                <a:gd name="connsiteX46" fmla="*/ 495776 w 3171825"/>
                <a:gd name="connsiteY46" fmla="*/ 443389 h 866775"/>
                <a:gd name="connsiteX47" fmla="*/ 685324 w 3171825"/>
                <a:gd name="connsiteY47" fmla="*/ 278606 h 866775"/>
                <a:gd name="connsiteX48" fmla="*/ 627221 w 3171825"/>
                <a:gd name="connsiteY48" fmla="*/ 214789 h 866775"/>
                <a:gd name="connsiteX49" fmla="*/ 437674 w 3171825"/>
                <a:gd name="connsiteY49" fmla="*/ 355759 h 866775"/>
                <a:gd name="connsiteX50" fmla="*/ 237649 w 3171825"/>
                <a:gd name="connsiteY50" fmla="*/ 529114 h 866775"/>
                <a:gd name="connsiteX51" fmla="*/ 97631 w 3171825"/>
                <a:gd name="connsiteY51" fmla="*/ 313849 h 866775"/>
                <a:gd name="connsiteX52" fmla="*/ 261461 w 3171825"/>
                <a:gd name="connsiteY52" fmla="*/ 69056 h 866775"/>
                <a:gd name="connsiteX53" fmla="*/ 329089 w 3171825"/>
                <a:gd name="connsiteY53" fmla="*/ 181451 h 866775"/>
                <a:gd name="connsiteX54" fmla="*/ 410051 w 3171825"/>
                <a:gd name="connsiteY54" fmla="*/ 121444 h 866775"/>
                <a:gd name="connsiteX55" fmla="*/ 265271 w 3171825"/>
                <a:gd name="connsiteY55" fmla="*/ 7144 h 866775"/>
                <a:gd name="connsiteX56" fmla="*/ 7144 w 3171825"/>
                <a:gd name="connsiteY56" fmla="*/ 324326 h 866775"/>
                <a:gd name="connsiteX57" fmla="*/ 220504 w 3171825"/>
                <a:gd name="connsiteY57" fmla="*/ 601504 h 866775"/>
                <a:gd name="connsiteX58" fmla="*/ 425291 w 3171825"/>
                <a:gd name="connsiteY58" fmla="*/ 472916 h 866775"/>
                <a:gd name="connsiteX59" fmla="*/ 525304 w 3171825"/>
                <a:gd name="connsiteY59" fmla="*/ 576739 h 866775"/>
                <a:gd name="connsiteX60" fmla="*/ 646271 w 3171825"/>
                <a:gd name="connsiteY60" fmla="*/ 485299 h 866775"/>
                <a:gd name="connsiteX61" fmla="*/ 734854 w 3171825"/>
                <a:gd name="connsiteY61" fmla="*/ 576739 h 866775"/>
                <a:gd name="connsiteX62" fmla="*/ 812959 w 3171825"/>
                <a:gd name="connsiteY62" fmla="*/ 532924 h 866775"/>
                <a:gd name="connsiteX63" fmla="*/ 904399 w 3171825"/>
                <a:gd name="connsiteY63" fmla="*/ 810101 h 866775"/>
                <a:gd name="connsiteX64" fmla="*/ 882491 w 3171825"/>
                <a:gd name="connsiteY64" fmla="*/ 577691 h 866775"/>
                <a:gd name="connsiteX65" fmla="*/ 969169 w 3171825"/>
                <a:gd name="connsiteY65" fmla="*/ 267176 h 866775"/>
                <a:gd name="connsiteX66" fmla="*/ 1015841 w 3171825"/>
                <a:gd name="connsiteY66" fmla="*/ 359569 h 866775"/>
                <a:gd name="connsiteX67" fmla="*/ 1007269 w 3171825"/>
                <a:gd name="connsiteY67" fmla="*/ 440531 h 866775"/>
                <a:gd name="connsiteX68" fmla="*/ 900589 w 3171825"/>
                <a:gd name="connsiteY68" fmla="*/ 545306 h 866775"/>
                <a:gd name="connsiteX69" fmla="*/ 941546 w 3171825"/>
                <a:gd name="connsiteY69" fmla="*/ 577691 h 866775"/>
                <a:gd name="connsiteX70" fmla="*/ 1072039 w 3171825"/>
                <a:gd name="connsiteY70" fmla="*/ 449104 h 866775"/>
                <a:gd name="connsiteX71" fmla="*/ 1150144 w 3171825"/>
                <a:gd name="connsiteY71" fmla="*/ 390049 h 866775"/>
                <a:gd name="connsiteX72" fmla="*/ 1149191 w 3171825"/>
                <a:gd name="connsiteY72" fmla="*/ 415766 h 866775"/>
                <a:gd name="connsiteX73" fmla="*/ 1244441 w 3171825"/>
                <a:gd name="connsiteY73" fmla="*/ 550069 h 866775"/>
                <a:gd name="connsiteX74" fmla="*/ 1349216 w 3171825"/>
                <a:gd name="connsiteY74" fmla="*/ 469106 h 866775"/>
                <a:gd name="connsiteX75" fmla="*/ 1352074 w 3171825"/>
                <a:gd name="connsiteY75" fmla="*/ 547211 h 866775"/>
                <a:gd name="connsiteX76" fmla="*/ 1155859 w 3171825"/>
                <a:gd name="connsiteY76" fmla="*/ 754856 h 866775"/>
                <a:gd name="connsiteX77" fmla="*/ 1259681 w 3171825"/>
                <a:gd name="connsiteY77" fmla="*/ 864394 h 866775"/>
                <a:gd name="connsiteX78" fmla="*/ 1419701 w 3171825"/>
                <a:gd name="connsiteY78" fmla="*/ 569119 h 866775"/>
                <a:gd name="connsiteX79" fmla="*/ 1529239 w 3171825"/>
                <a:gd name="connsiteY79" fmla="*/ 518636 h 866775"/>
                <a:gd name="connsiteX80" fmla="*/ 1640681 w 3171825"/>
                <a:gd name="connsiteY80" fmla="*/ 576739 h 866775"/>
                <a:gd name="connsiteX81" fmla="*/ 1813084 w 3171825"/>
                <a:gd name="connsiteY81" fmla="*/ 459581 h 866775"/>
                <a:gd name="connsiteX82" fmla="*/ 1868329 w 3171825"/>
                <a:gd name="connsiteY82" fmla="*/ 576739 h 866775"/>
                <a:gd name="connsiteX83" fmla="*/ 1980724 w 3171825"/>
                <a:gd name="connsiteY83" fmla="*/ 273844 h 866775"/>
                <a:gd name="connsiteX84" fmla="*/ 2074069 w 3171825"/>
                <a:gd name="connsiteY84" fmla="*/ 601504 h 866775"/>
                <a:gd name="connsiteX85" fmla="*/ 2198846 w 3171825"/>
                <a:gd name="connsiteY85" fmla="*/ 312896 h 866775"/>
                <a:gd name="connsiteX86" fmla="*/ 2307432 w 3171825"/>
                <a:gd name="connsiteY86" fmla="*/ 576739 h 866775"/>
                <a:gd name="connsiteX87" fmla="*/ 2412207 w 3171825"/>
                <a:gd name="connsiteY87" fmla="*/ 428149 h 866775"/>
                <a:gd name="connsiteX88" fmla="*/ 2521744 w 3171825"/>
                <a:gd name="connsiteY88" fmla="*/ 576739 h 866775"/>
                <a:gd name="connsiteX89" fmla="*/ 2618899 w 3171825"/>
                <a:gd name="connsiteY89" fmla="*/ 486251 h 866775"/>
                <a:gd name="connsiteX90" fmla="*/ 2670334 w 3171825"/>
                <a:gd name="connsiteY90" fmla="*/ 576739 h 866775"/>
                <a:gd name="connsiteX91" fmla="*/ 2803684 w 3171825"/>
                <a:gd name="connsiteY91" fmla="*/ 274796 h 866775"/>
                <a:gd name="connsiteX92" fmla="*/ 2947511 w 3171825"/>
                <a:gd name="connsiteY92" fmla="*/ 576739 h 866775"/>
                <a:gd name="connsiteX93" fmla="*/ 3040857 w 3171825"/>
                <a:gd name="connsiteY93" fmla="*/ 474821 h 866775"/>
                <a:gd name="connsiteX94" fmla="*/ 3121819 w 3171825"/>
                <a:gd name="connsiteY94" fmla="*/ 576739 h 866775"/>
                <a:gd name="connsiteX95" fmla="*/ 3169444 w 3171825"/>
                <a:gd name="connsiteY95" fmla="*/ 550069 h 866775"/>
                <a:gd name="connsiteX96" fmla="*/ 3092291 w 3171825"/>
                <a:gd name="connsiteY96" fmla="*/ 287179 h 866775"/>
                <a:gd name="connsiteX97" fmla="*/ 1267301 w 3171825"/>
                <a:gd name="connsiteY97" fmla="*/ 806291 h 866775"/>
                <a:gd name="connsiteX98" fmla="*/ 1226344 w 3171825"/>
                <a:gd name="connsiteY98" fmla="*/ 751999 h 866775"/>
                <a:gd name="connsiteX99" fmla="*/ 1353026 w 3171825"/>
                <a:gd name="connsiteY99" fmla="*/ 597694 h 866775"/>
                <a:gd name="connsiteX100" fmla="*/ 1267301 w 3171825"/>
                <a:gd name="connsiteY100" fmla="*/ 806291 h 866775"/>
                <a:gd name="connsiteX101" fmla="*/ 1614964 w 3171825"/>
                <a:gd name="connsiteY101" fmla="*/ 257651 h 866775"/>
                <a:gd name="connsiteX102" fmla="*/ 1653064 w 3171825"/>
                <a:gd name="connsiteY102" fmla="*/ 315754 h 866775"/>
                <a:gd name="connsiteX103" fmla="*/ 1569244 w 3171825"/>
                <a:gd name="connsiteY103" fmla="*/ 438626 h 866775"/>
                <a:gd name="connsiteX104" fmla="*/ 1614964 w 3171825"/>
                <a:gd name="connsiteY104" fmla="*/ 257651 h 866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3171825" h="866775">
                  <a:moveTo>
                    <a:pt x="3092291" y="287179"/>
                  </a:moveTo>
                  <a:cubicBezTo>
                    <a:pt x="3092291" y="241459"/>
                    <a:pt x="3089434" y="211931"/>
                    <a:pt x="3059907" y="211931"/>
                  </a:cubicBezTo>
                  <a:cubicBezTo>
                    <a:pt x="3046571" y="211931"/>
                    <a:pt x="3039904" y="214789"/>
                    <a:pt x="3027521" y="218599"/>
                  </a:cubicBezTo>
                  <a:cubicBezTo>
                    <a:pt x="3037999" y="371951"/>
                    <a:pt x="3003709" y="507206"/>
                    <a:pt x="2960846" y="507206"/>
                  </a:cubicBezTo>
                  <a:cubicBezTo>
                    <a:pt x="2905601" y="507206"/>
                    <a:pt x="2933224" y="178594"/>
                    <a:pt x="2816066" y="178594"/>
                  </a:cubicBezTo>
                  <a:cubicBezTo>
                    <a:pt x="2707482" y="178594"/>
                    <a:pt x="2692241" y="440531"/>
                    <a:pt x="2679859" y="440531"/>
                  </a:cubicBezTo>
                  <a:cubicBezTo>
                    <a:pt x="2671286" y="440531"/>
                    <a:pt x="2670334" y="371951"/>
                    <a:pt x="2670334" y="319564"/>
                  </a:cubicBezTo>
                  <a:cubicBezTo>
                    <a:pt x="2675096" y="294799"/>
                    <a:pt x="2677001" y="271939"/>
                    <a:pt x="2677001" y="254794"/>
                  </a:cubicBezTo>
                  <a:cubicBezTo>
                    <a:pt x="2677001" y="230029"/>
                    <a:pt x="2667476" y="188119"/>
                    <a:pt x="2611279" y="209074"/>
                  </a:cubicBezTo>
                  <a:cubicBezTo>
                    <a:pt x="2613184" y="396716"/>
                    <a:pt x="2576036" y="510064"/>
                    <a:pt x="2533174" y="510064"/>
                  </a:cubicBezTo>
                  <a:cubicBezTo>
                    <a:pt x="2471261" y="510064"/>
                    <a:pt x="2470309" y="340519"/>
                    <a:pt x="2470309" y="292894"/>
                  </a:cubicBezTo>
                  <a:cubicBezTo>
                    <a:pt x="2470309" y="247174"/>
                    <a:pt x="2473166" y="186214"/>
                    <a:pt x="2405539" y="208121"/>
                  </a:cubicBezTo>
                  <a:cubicBezTo>
                    <a:pt x="2395061" y="371951"/>
                    <a:pt x="2352199" y="494824"/>
                    <a:pt x="2325529" y="494824"/>
                  </a:cubicBezTo>
                  <a:cubicBezTo>
                    <a:pt x="2285524" y="494824"/>
                    <a:pt x="2293144" y="211931"/>
                    <a:pt x="2206466" y="211931"/>
                  </a:cubicBezTo>
                  <a:cubicBezTo>
                    <a:pt x="2128361" y="211931"/>
                    <a:pt x="2103596" y="479584"/>
                    <a:pt x="2087404" y="479584"/>
                  </a:cubicBezTo>
                  <a:cubicBezTo>
                    <a:pt x="2057876" y="479584"/>
                    <a:pt x="2096929" y="178594"/>
                    <a:pt x="1983581" y="178594"/>
                  </a:cubicBezTo>
                  <a:cubicBezTo>
                    <a:pt x="1924526" y="178594"/>
                    <a:pt x="1900714" y="279559"/>
                    <a:pt x="1877854" y="391954"/>
                  </a:cubicBezTo>
                  <a:cubicBezTo>
                    <a:pt x="1873091" y="413861"/>
                    <a:pt x="1868329" y="414814"/>
                    <a:pt x="1867376" y="390049"/>
                  </a:cubicBezTo>
                  <a:cubicBezTo>
                    <a:pt x="1866424" y="370046"/>
                    <a:pt x="1866424" y="347186"/>
                    <a:pt x="1866424" y="327184"/>
                  </a:cubicBezTo>
                  <a:cubicBezTo>
                    <a:pt x="1894999" y="213836"/>
                    <a:pt x="1859756" y="171926"/>
                    <a:pt x="1807369" y="202406"/>
                  </a:cubicBezTo>
                  <a:cubicBezTo>
                    <a:pt x="1824514" y="411004"/>
                    <a:pt x="1728311" y="512921"/>
                    <a:pt x="1654969" y="512921"/>
                  </a:cubicBezTo>
                  <a:cubicBezTo>
                    <a:pt x="1628299" y="512921"/>
                    <a:pt x="1607344" y="501491"/>
                    <a:pt x="1592104" y="483394"/>
                  </a:cubicBezTo>
                  <a:cubicBezTo>
                    <a:pt x="1680686" y="429101"/>
                    <a:pt x="1719739" y="367189"/>
                    <a:pt x="1719739" y="306229"/>
                  </a:cubicBezTo>
                  <a:cubicBezTo>
                    <a:pt x="1719739" y="240506"/>
                    <a:pt x="1681639" y="202406"/>
                    <a:pt x="1619726" y="202406"/>
                  </a:cubicBezTo>
                  <a:cubicBezTo>
                    <a:pt x="1532096" y="202406"/>
                    <a:pt x="1483519" y="292894"/>
                    <a:pt x="1483519" y="369094"/>
                  </a:cubicBezTo>
                  <a:cubicBezTo>
                    <a:pt x="1483519" y="410051"/>
                    <a:pt x="1491139" y="445294"/>
                    <a:pt x="1503521" y="473869"/>
                  </a:cubicBezTo>
                  <a:cubicBezTo>
                    <a:pt x="1473041" y="488156"/>
                    <a:pt x="1445419" y="500539"/>
                    <a:pt x="1418749" y="512921"/>
                  </a:cubicBezTo>
                  <a:cubicBezTo>
                    <a:pt x="1416844" y="433864"/>
                    <a:pt x="1407319" y="350996"/>
                    <a:pt x="1400651" y="274796"/>
                  </a:cubicBezTo>
                  <a:cubicBezTo>
                    <a:pt x="1353979" y="262414"/>
                    <a:pt x="1340644" y="284321"/>
                    <a:pt x="1336834" y="326231"/>
                  </a:cubicBezTo>
                  <a:cubicBezTo>
                    <a:pt x="1328261" y="420529"/>
                    <a:pt x="1293971" y="479584"/>
                    <a:pt x="1262539" y="479584"/>
                  </a:cubicBezTo>
                  <a:cubicBezTo>
                    <a:pt x="1239679" y="479584"/>
                    <a:pt x="1225391" y="451009"/>
                    <a:pt x="1223486" y="421481"/>
                  </a:cubicBezTo>
                  <a:cubicBezTo>
                    <a:pt x="1214914" y="270034"/>
                    <a:pt x="1337786" y="228124"/>
                    <a:pt x="1402556" y="250031"/>
                  </a:cubicBezTo>
                  <a:cubicBezTo>
                    <a:pt x="1415891" y="216694"/>
                    <a:pt x="1401604" y="192881"/>
                    <a:pt x="1343501" y="192881"/>
                  </a:cubicBezTo>
                  <a:cubicBezTo>
                    <a:pt x="1273016" y="192881"/>
                    <a:pt x="1220629" y="235744"/>
                    <a:pt x="1181576" y="290989"/>
                  </a:cubicBezTo>
                  <a:cubicBezTo>
                    <a:pt x="1155859" y="327184"/>
                    <a:pt x="1126331" y="353854"/>
                    <a:pt x="1086326" y="385286"/>
                  </a:cubicBezTo>
                  <a:cubicBezTo>
                    <a:pt x="1087279" y="375761"/>
                    <a:pt x="1088231" y="367189"/>
                    <a:pt x="1088231" y="358616"/>
                  </a:cubicBezTo>
                  <a:cubicBezTo>
                    <a:pt x="1088231" y="251936"/>
                    <a:pt x="1030129" y="204311"/>
                    <a:pt x="974884" y="204311"/>
                  </a:cubicBezTo>
                  <a:cubicBezTo>
                    <a:pt x="929164" y="204311"/>
                    <a:pt x="900589" y="231934"/>
                    <a:pt x="883444" y="273844"/>
                  </a:cubicBezTo>
                  <a:cubicBezTo>
                    <a:pt x="879634" y="231934"/>
                    <a:pt x="871061" y="213836"/>
                    <a:pt x="846296" y="213836"/>
                  </a:cubicBezTo>
                  <a:cubicBezTo>
                    <a:pt x="835819" y="213836"/>
                    <a:pt x="821531" y="216694"/>
                    <a:pt x="805339" y="224314"/>
                  </a:cubicBezTo>
                  <a:cubicBezTo>
                    <a:pt x="812959" y="248126"/>
                    <a:pt x="814864" y="300514"/>
                    <a:pt x="814864" y="334804"/>
                  </a:cubicBezTo>
                  <a:cubicBezTo>
                    <a:pt x="814864" y="463391"/>
                    <a:pt x="777716" y="520541"/>
                    <a:pt x="742474" y="520541"/>
                  </a:cubicBezTo>
                  <a:cubicBezTo>
                    <a:pt x="701516" y="520541"/>
                    <a:pt x="695801" y="368141"/>
                    <a:pt x="691991" y="309086"/>
                  </a:cubicBezTo>
                  <a:cubicBezTo>
                    <a:pt x="687229" y="307181"/>
                    <a:pt x="681514" y="305276"/>
                    <a:pt x="671989" y="305276"/>
                  </a:cubicBezTo>
                  <a:cubicBezTo>
                    <a:pt x="635794" y="305276"/>
                    <a:pt x="631031" y="354806"/>
                    <a:pt x="621506" y="399574"/>
                  </a:cubicBezTo>
                  <a:cubicBezTo>
                    <a:pt x="611029" y="450056"/>
                    <a:pt x="582454" y="512921"/>
                    <a:pt x="539591" y="512921"/>
                  </a:cubicBezTo>
                  <a:cubicBezTo>
                    <a:pt x="513874" y="512921"/>
                    <a:pt x="497681" y="488156"/>
                    <a:pt x="495776" y="443389"/>
                  </a:cubicBezTo>
                  <a:cubicBezTo>
                    <a:pt x="491966" y="352901"/>
                    <a:pt x="567214" y="245269"/>
                    <a:pt x="685324" y="278606"/>
                  </a:cubicBezTo>
                  <a:cubicBezTo>
                    <a:pt x="700564" y="242411"/>
                    <a:pt x="676751" y="214789"/>
                    <a:pt x="627221" y="214789"/>
                  </a:cubicBezTo>
                  <a:cubicBezTo>
                    <a:pt x="540544" y="214789"/>
                    <a:pt x="469106" y="279559"/>
                    <a:pt x="437674" y="355759"/>
                  </a:cubicBezTo>
                  <a:cubicBezTo>
                    <a:pt x="406241" y="426244"/>
                    <a:pt x="350996" y="529114"/>
                    <a:pt x="237649" y="529114"/>
                  </a:cubicBezTo>
                  <a:cubicBezTo>
                    <a:pt x="157639" y="529114"/>
                    <a:pt x="97631" y="459581"/>
                    <a:pt x="97631" y="313849"/>
                  </a:cubicBezTo>
                  <a:cubicBezTo>
                    <a:pt x="97631" y="188119"/>
                    <a:pt x="176689" y="69056"/>
                    <a:pt x="261461" y="69056"/>
                  </a:cubicBezTo>
                  <a:cubicBezTo>
                    <a:pt x="320516" y="69056"/>
                    <a:pt x="333851" y="127159"/>
                    <a:pt x="329089" y="181451"/>
                  </a:cubicBezTo>
                  <a:cubicBezTo>
                    <a:pt x="359569" y="206216"/>
                    <a:pt x="410051" y="183356"/>
                    <a:pt x="410051" y="121444"/>
                  </a:cubicBezTo>
                  <a:cubicBezTo>
                    <a:pt x="410051" y="79534"/>
                    <a:pt x="375761" y="7144"/>
                    <a:pt x="265271" y="7144"/>
                  </a:cubicBezTo>
                  <a:cubicBezTo>
                    <a:pt x="128111" y="7144"/>
                    <a:pt x="7144" y="144304"/>
                    <a:pt x="7144" y="324326"/>
                  </a:cubicBezTo>
                  <a:cubicBezTo>
                    <a:pt x="7144" y="498634"/>
                    <a:pt x="95726" y="601504"/>
                    <a:pt x="220504" y="601504"/>
                  </a:cubicBezTo>
                  <a:cubicBezTo>
                    <a:pt x="299561" y="601504"/>
                    <a:pt x="373856" y="556736"/>
                    <a:pt x="425291" y="472916"/>
                  </a:cubicBezTo>
                  <a:cubicBezTo>
                    <a:pt x="438626" y="545306"/>
                    <a:pt x="488156" y="576739"/>
                    <a:pt x="525304" y="576739"/>
                  </a:cubicBezTo>
                  <a:cubicBezTo>
                    <a:pt x="585311" y="576739"/>
                    <a:pt x="624364" y="537686"/>
                    <a:pt x="646271" y="485299"/>
                  </a:cubicBezTo>
                  <a:cubicBezTo>
                    <a:pt x="659606" y="537686"/>
                    <a:pt x="688181" y="576739"/>
                    <a:pt x="734854" y="576739"/>
                  </a:cubicBezTo>
                  <a:cubicBezTo>
                    <a:pt x="768191" y="576739"/>
                    <a:pt x="793909" y="559594"/>
                    <a:pt x="812959" y="532924"/>
                  </a:cubicBezTo>
                  <a:cubicBezTo>
                    <a:pt x="805339" y="716756"/>
                    <a:pt x="795814" y="832961"/>
                    <a:pt x="904399" y="810101"/>
                  </a:cubicBezTo>
                  <a:cubicBezTo>
                    <a:pt x="887254" y="757714"/>
                    <a:pt x="882491" y="663416"/>
                    <a:pt x="882491" y="577691"/>
                  </a:cubicBezTo>
                  <a:cubicBezTo>
                    <a:pt x="882491" y="344329"/>
                    <a:pt x="920591" y="267176"/>
                    <a:pt x="969169" y="267176"/>
                  </a:cubicBezTo>
                  <a:cubicBezTo>
                    <a:pt x="1004411" y="267176"/>
                    <a:pt x="1015841" y="311944"/>
                    <a:pt x="1015841" y="359569"/>
                  </a:cubicBezTo>
                  <a:cubicBezTo>
                    <a:pt x="1015841" y="385286"/>
                    <a:pt x="1012984" y="413861"/>
                    <a:pt x="1007269" y="440531"/>
                  </a:cubicBezTo>
                  <a:cubicBezTo>
                    <a:pt x="948214" y="477679"/>
                    <a:pt x="900589" y="507206"/>
                    <a:pt x="900589" y="545306"/>
                  </a:cubicBezTo>
                  <a:cubicBezTo>
                    <a:pt x="900589" y="574834"/>
                    <a:pt x="922496" y="577691"/>
                    <a:pt x="941546" y="577691"/>
                  </a:cubicBezTo>
                  <a:cubicBezTo>
                    <a:pt x="987266" y="577691"/>
                    <a:pt x="1041559" y="532924"/>
                    <a:pt x="1072039" y="449104"/>
                  </a:cubicBezTo>
                  <a:cubicBezTo>
                    <a:pt x="1098709" y="432911"/>
                    <a:pt x="1125379" y="414814"/>
                    <a:pt x="1150144" y="390049"/>
                  </a:cubicBezTo>
                  <a:cubicBezTo>
                    <a:pt x="1149191" y="398621"/>
                    <a:pt x="1149191" y="407194"/>
                    <a:pt x="1149191" y="415766"/>
                  </a:cubicBezTo>
                  <a:cubicBezTo>
                    <a:pt x="1149191" y="499586"/>
                    <a:pt x="1185386" y="550069"/>
                    <a:pt x="1244441" y="550069"/>
                  </a:cubicBezTo>
                  <a:cubicBezTo>
                    <a:pt x="1290161" y="550069"/>
                    <a:pt x="1324451" y="517684"/>
                    <a:pt x="1349216" y="469106"/>
                  </a:cubicBezTo>
                  <a:cubicBezTo>
                    <a:pt x="1351121" y="496729"/>
                    <a:pt x="1352074" y="523399"/>
                    <a:pt x="1352074" y="547211"/>
                  </a:cubicBezTo>
                  <a:cubicBezTo>
                    <a:pt x="1258729" y="590074"/>
                    <a:pt x="1155859" y="633889"/>
                    <a:pt x="1155859" y="754856"/>
                  </a:cubicBezTo>
                  <a:cubicBezTo>
                    <a:pt x="1155859" y="817721"/>
                    <a:pt x="1201579" y="864394"/>
                    <a:pt x="1259681" y="864394"/>
                  </a:cubicBezTo>
                  <a:cubicBezTo>
                    <a:pt x="1389221" y="864394"/>
                    <a:pt x="1418749" y="728186"/>
                    <a:pt x="1419701" y="569119"/>
                  </a:cubicBezTo>
                  <a:cubicBezTo>
                    <a:pt x="1461611" y="551021"/>
                    <a:pt x="1493044" y="536734"/>
                    <a:pt x="1529239" y="518636"/>
                  </a:cubicBezTo>
                  <a:cubicBezTo>
                    <a:pt x="1560671" y="557689"/>
                    <a:pt x="1602581" y="576739"/>
                    <a:pt x="1640681" y="576739"/>
                  </a:cubicBezTo>
                  <a:cubicBezTo>
                    <a:pt x="1714024" y="576739"/>
                    <a:pt x="1768316" y="537686"/>
                    <a:pt x="1813084" y="459581"/>
                  </a:cubicBezTo>
                  <a:cubicBezTo>
                    <a:pt x="1820704" y="519589"/>
                    <a:pt x="1835944" y="576739"/>
                    <a:pt x="1868329" y="576739"/>
                  </a:cubicBezTo>
                  <a:cubicBezTo>
                    <a:pt x="1926431" y="576739"/>
                    <a:pt x="1937861" y="273844"/>
                    <a:pt x="1980724" y="273844"/>
                  </a:cubicBezTo>
                  <a:cubicBezTo>
                    <a:pt x="2014061" y="273844"/>
                    <a:pt x="1986439" y="601504"/>
                    <a:pt x="2074069" y="601504"/>
                  </a:cubicBezTo>
                  <a:cubicBezTo>
                    <a:pt x="2148364" y="601504"/>
                    <a:pt x="2162651" y="312896"/>
                    <a:pt x="2198846" y="312896"/>
                  </a:cubicBezTo>
                  <a:cubicBezTo>
                    <a:pt x="2224564" y="312896"/>
                    <a:pt x="2226469" y="576739"/>
                    <a:pt x="2307432" y="576739"/>
                  </a:cubicBezTo>
                  <a:cubicBezTo>
                    <a:pt x="2347436" y="576739"/>
                    <a:pt x="2390299" y="529114"/>
                    <a:pt x="2412207" y="428149"/>
                  </a:cubicBezTo>
                  <a:cubicBezTo>
                    <a:pt x="2422684" y="494824"/>
                    <a:pt x="2456021" y="576739"/>
                    <a:pt x="2521744" y="576739"/>
                  </a:cubicBezTo>
                  <a:cubicBezTo>
                    <a:pt x="2559844" y="576739"/>
                    <a:pt x="2593182" y="537686"/>
                    <a:pt x="2618899" y="486251"/>
                  </a:cubicBezTo>
                  <a:cubicBezTo>
                    <a:pt x="2625566" y="539591"/>
                    <a:pt x="2640807" y="576739"/>
                    <a:pt x="2670334" y="576739"/>
                  </a:cubicBezTo>
                  <a:cubicBezTo>
                    <a:pt x="2746534" y="576739"/>
                    <a:pt x="2743676" y="274796"/>
                    <a:pt x="2803684" y="274796"/>
                  </a:cubicBezTo>
                  <a:cubicBezTo>
                    <a:pt x="2850357" y="274796"/>
                    <a:pt x="2836069" y="576739"/>
                    <a:pt x="2947511" y="576739"/>
                  </a:cubicBezTo>
                  <a:cubicBezTo>
                    <a:pt x="3000851" y="576739"/>
                    <a:pt x="3025616" y="531971"/>
                    <a:pt x="3040857" y="474821"/>
                  </a:cubicBezTo>
                  <a:cubicBezTo>
                    <a:pt x="3061811" y="558641"/>
                    <a:pt x="3094196" y="576739"/>
                    <a:pt x="3121819" y="576739"/>
                  </a:cubicBezTo>
                  <a:cubicBezTo>
                    <a:pt x="3138964" y="576739"/>
                    <a:pt x="3152299" y="571024"/>
                    <a:pt x="3169444" y="550069"/>
                  </a:cubicBezTo>
                  <a:cubicBezTo>
                    <a:pt x="3085624" y="511969"/>
                    <a:pt x="3092291" y="375761"/>
                    <a:pt x="3092291" y="287179"/>
                  </a:cubicBezTo>
                  <a:close/>
                  <a:moveTo>
                    <a:pt x="1267301" y="806291"/>
                  </a:moveTo>
                  <a:cubicBezTo>
                    <a:pt x="1240631" y="806291"/>
                    <a:pt x="1226344" y="780574"/>
                    <a:pt x="1226344" y="751999"/>
                  </a:cubicBezTo>
                  <a:cubicBezTo>
                    <a:pt x="1226344" y="674846"/>
                    <a:pt x="1283494" y="632936"/>
                    <a:pt x="1353026" y="597694"/>
                  </a:cubicBezTo>
                  <a:cubicBezTo>
                    <a:pt x="1349216" y="768191"/>
                    <a:pt x="1310164" y="806291"/>
                    <a:pt x="1267301" y="806291"/>
                  </a:cubicBezTo>
                  <a:close/>
                  <a:moveTo>
                    <a:pt x="1614964" y="257651"/>
                  </a:moveTo>
                  <a:cubicBezTo>
                    <a:pt x="1640681" y="257651"/>
                    <a:pt x="1655921" y="281464"/>
                    <a:pt x="1653064" y="315754"/>
                  </a:cubicBezTo>
                  <a:cubicBezTo>
                    <a:pt x="1650206" y="355759"/>
                    <a:pt x="1620679" y="402431"/>
                    <a:pt x="1569244" y="438626"/>
                  </a:cubicBezTo>
                  <a:cubicBezTo>
                    <a:pt x="1543526" y="362426"/>
                    <a:pt x="1563529" y="257651"/>
                    <a:pt x="1614964" y="257651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0F68A571-28DB-453F-861D-36D50723ED4D}"/>
                </a:ext>
              </a:extLst>
            </p:cNvPr>
            <p:cNvSpPr/>
            <p:nvPr/>
          </p:nvSpPr>
          <p:spPr>
            <a:xfrm>
              <a:off x="10915493" y="643771"/>
              <a:ext cx="54409" cy="59850"/>
            </a:xfrm>
            <a:custGeom>
              <a:avLst/>
              <a:gdLst>
                <a:gd name="connsiteX0" fmla="*/ 51942 w 95250"/>
                <a:gd name="connsiteY0" fmla="*/ 99569 h 104775"/>
                <a:gd name="connsiteX1" fmla="*/ 93853 w 95250"/>
                <a:gd name="connsiteY1" fmla="*/ 51944 h 104775"/>
                <a:gd name="connsiteX2" fmla="*/ 51942 w 95250"/>
                <a:gd name="connsiteY2" fmla="*/ 7176 h 104775"/>
                <a:gd name="connsiteX3" fmla="*/ 7175 w 95250"/>
                <a:gd name="connsiteY3" fmla="*/ 54801 h 104775"/>
                <a:gd name="connsiteX4" fmla="*/ 51942 w 95250"/>
                <a:gd name="connsiteY4" fmla="*/ 99569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104775">
                  <a:moveTo>
                    <a:pt x="51942" y="99569"/>
                  </a:moveTo>
                  <a:cubicBezTo>
                    <a:pt x="76707" y="98616"/>
                    <a:pt x="93853" y="77661"/>
                    <a:pt x="93853" y="51944"/>
                  </a:cubicBezTo>
                  <a:cubicBezTo>
                    <a:pt x="93853" y="26226"/>
                    <a:pt x="76707" y="6224"/>
                    <a:pt x="51942" y="7176"/>
                  </a:cubicBezTo>
                  <a:cubicBezTo>
                    <a:pt x="27178" y="8129"/>
                    <a:pt x="7175" y="29084"/>
                    <a:pt x="7175" y="54801"/>
                  </a:cubicBezTo>
                  <a:cubicBezTo>
                    <a:pt x="6222" y="80519"/>
                    <a:pt x="27178" y="100521"/>
                    <a:pt x="51942" y="99569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923DB0AA-5015-4FEA-A32D-44257CF2BED3}"/>
                </a:ext>
              </a:extLst>
            </p:cNvPr>
            <p:cNvSpPr/>
            <p:nvPr/>
          </p:nvSpPr>
          <p:spPr>
            <a:xfrm>
              <a:off x="11270254" y="654106"/>
              <a:ext cx="54409" cy="54409"/>
            </a:xfrm>
            <a:custGeom>
              <a:avLst/>
              <a:gdLst>
                <a:gd name="connsiteX0" fmla="*/ 48101 w 95250"/>
                <a:gd name="connsiteY0" fmla="*/ 94808 h 95250"/>
                <a:gd name="connsiteX1" fmla="*/ 89059 w 95250"/>
                <a:gd name="connsiteY1" fmla="*/ 49088 h 95250"/>
                <a:gd name="connsiteX2" fmla="*/ 48101 w 95250"/>
                <a:gd name="connsiteY2" fmla="*/ 7178 h 95250"/>
                <a:gd name="connsiteX3" fmla="*/ 7144 w 95250"/>
                <a:gd name="connsiteY3" fmla="*/ 52898 h 95250"/>
                <a:gd name="connsiteX4" fmla="*/ 48101 w 95250"/>
                <a:gd name="connsiteY4" fmla="*/ 94808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48101" y="94808"/>
                  </a:moveTo>
                  <a:cubicBezTo>
                    <a:pt x="70961" y="93856"/>
                    <a:pt x="89059" y="73853"/>
                    <a:pt x="89059" y="49088"/>
                  </a:cubicBezTo>
                  <a:cubicBezTo>
                    <a:pt x="89059" y="25275"/>
                    <a:pt x="70961" y="6225"/>
                    <a:pt x="48101" y="7178"/>
                  </a:cubicBezTo>
                  <a:cubicBezTo>
                    <a:pt x="25241" y="8131"/>
                    <a:pt x="7144" y="28133"/>
                    <a:pt x="7144" y="52898"/>
                  </a:cubicBezTo>
                  <a:cubicBezTo>
                    <a:pt x="8096" y="76711"/>
                    <a:pt x="26194" y="95761"/>
                    <a:pt x="48101" y="94808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3E8CD59B-E3D8-4E45-86AA-3D0BB06038CE}"/>
                </a:ext>
              </a:extLst>
            </p:cNvPr>
            <p:cNvSpPr/>
            <p:nvPr/>
          </p:nvSpPr>
          <p:spPr>
            <a:xfrm>
              <a:off x="11384515" y="612775"/>
              <a:ext cx="397182" cy="331893"/>
            </a:xfrm>
            <a:custGeom>
              <a:avLst/>
              <a:gdLst>
                <a:gd name="connsiteX0" fmla="*/ 689134 w 695325"/>
                <a:gd name="connsiteY0" fmla="*/ 368141 h 581025"/>
                <a:gd name="connsiteX1" fmla="*/ 571024 w 695325"/>
                <a:gd name="connsiteY1" fmla="*/ 127159 h 581025"/>
                <a:gd name="connsiteX2" fmla="*/ 388144 w 695325"/>
                <a:gd name="connsiteY2" fmla="*/ 13811 h 581025"/>
                <a:gd name="connsiteX3" fmla="*/ 371951 w 695325"/>
                <a:gd name="connsiteY3" fmla="*/ 7144 h 581025"/>
                <a:gd name="connsiteX4" fmla="*/ 371951 w 695325"/>
                <a:gd name="connsiteY4" fmla="*/ 7144 h 581025"/>
                <a:gd name="connsiteX5" fmla="*/ 371951 w 695325"/>
                <a:gd name="connsiteY5" fmla="*/ 7144 h 581025"/>
                <a:gd name="connsiteX6" fmla="*/ 7144 w 695325"/>
                <a:gd name="connsiteY6" fmla="*/ 383381 h 581025"/>
                <a:gd name="connsiteX7" fmla="*/ 132874 w 695325"/>
                <a:gd name="connsiteY7" fmla="*/ 569119 h 581025"/>
                <a:gd name="connsiteX8" fmla="*/ 262414 w 695325"/>
                <a:gd name="connsiteY8" fmla="*/ 571976 h 581025"/>
                <a:gd name="connsiteX9" fmla="*/ 358616 w 695325"/>
                <a:gd name="connsiteY9" fmla="*/ 506254 h 581025"/>
                <a:gd name="connsiteX10" fmla="*/ 577692 w 695325"/>
                <a:gd name="connsiteY10" fmla="*/ 271939 h 581025"/>
                <a:gd name="connsiteX11" fmla="*/ 690086 w 695325"/>
                <a:gd name="connsiteY11" fmla="*/ 374809 h 581025"/>
                <a:gd name="connsiteX12" fmla="*/ 689134 w 695325"/>
                <a:gd name="connsiteY12" fmla="*/ 368141 h 581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95325" h="581025">
                  <a:moveTo>
                    <a:pt x="689134" y="368141"/>
                  </a:moveTo>
                  <a:cubicBezTo>
                    <a:pt x="687229" y="271939"/>
                    <a:pt x="641509" y="191929"/>
                    <a:pt x="571024" y="127159"/>
                  </a:cubicBezTo>
                  <a:cubicBezTo>
                    <a:pt x="517684" y="78581"/>
                    <a:pt x="453866" y="41434"/>
                    <a:pt x="388144" y="13811"/>
                  </a:cubicBezTo>
                  <a:cubicBezTo>
                    <a:pt x="382429" y="11906"/>
                    <a:pt x="377666" y="9049"/>
                    <a:pt x="371951" y="7144"/>
                  </a:cubicBezTo>
                  <a:lnTo>
                    <a:pt x="371951" y="7144"/>
                  </a:lnTo>
                  <a:cubicBezTo>
                    <a:pt x="371951" y="7144"/>
                    <a:pt x="371951" y="7144"/>
                    <a:pt x="371951" y="7144"/>
                  </a:cubicBezTo>
                  <a:cubicBezTo>
                    <a:pt x="290036" y="105251"/>
                    <a:pt x="7144" y="178594"/>
                    <a:pt x="7144" y="383381"/>
                  </a:cubicBezTo>
                  <a:cubicBezTo>
                    <a:pt x="7144" y="463391"/>
                    <a:pt x="57626" y="538639"/>
                    <a:pt x="132874" y="569119"/>
                  </a:cubicBezTo>
                  <a:cubicBezTo>
                    <a:pt x="175736" y="585311"/>
                    <a:pt x="219551" y="586264"/>
                    <a:pt x="262414" y="571976"/>
                  </a:cubicBezTo>
                  <a:cubicBezTo>
                    <a:pt x="300514" y="559594"/>
                    <a:pt x="332899" y="535781"/>
                    <a:pt x="358616" y="506254"/>
                  </a:cubicBezTo>
                  <a:cubicBezTo>
                    <a:pt x="441484" y="413861"/>
                    <a:pt x="475774" y="271939"/>
                    <a:pt x="577692" y="271939"/>
                  </a:cubicBezTo>
                  <a:cubicBezTo>
                    <a:pt x="671036" y="271939"/>
                    <a:pt x="683419" y="338614"/>
                    <a:pt x="690086" y="374809"/>
                  </a:cubicBezTo>
                  <a:cubicBezTo>
                    <a:pt x="689134" y="373856"/>
                    <a:pt x="689134" y="371951"/>
                    <a:pt x="689134" y="368141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1746880644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006B5C2B-B0BF-4136-9EC7-0E7F54D1D2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04812" y="1447201"/>
            <a:ext cx="11379201" cy="5022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1196981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7F0C9DF-D1FA-45A1-91F6-147FDC3E73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59051053"/>
      </p:ext>
    </p:extLst>
  </p:cSld>
  <p:clrMapOvr>
    <a:masterClrMapping/>
  </p:clrMapOvr>
  <p:hf hd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1054D7-80F5-442C-9F9E-FCC6CF14C5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813" y="340563"/>
            <a:ext cx="10947772" cy="71671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404813" y="1327150"/>
            <a:ext cx="11379200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subtitle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04812" y="1899138"/>
            <a:ext cx="11379201" cy="457067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A900C1F-4D1A-43D7-82AB-4812B4D71AA7}"/>
              </a:ext>
            </a:extLst>
          </p:cNvPr>
          <p:cNvSpPr/>
          <p:nvPr userDrawn="1"/>
        </p:nvSpPr>
        <p:spPr>
          <a:xfrm>
            <a:off x="11496675" y="123825"/>
            <a:ext cx="581025" cy="6286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60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D5E55AA-D77D-429C-8C5C-A5CA4FB78157}"/>
              </a:ext>
            </a:extLst>
          </p:cNvPr>
          <p:cNvSpPr/>
          <p:nvPr userDrawn="1"/>
        </p:nvSpPr>
        <p:spPr>
          <a:xfrm>
            <a:off x="11468100" y="123825"/>
            <a:ext cx="600075" cy="5429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60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70FA4E1-DA12-4A57-BBB5-B39EA9248659}"/>
              </a:ext>
            </a:extLst>
          </p:cNvPr>
          <p:cNvSpPr/>
          <p:nvPr userDrawn="1"/>
        </p:nvSpPr>
        <p:spPr>
          <a:xfrm>
            <a:off x="11439525" y="142875"/>
            <a:ext cx="666750" cy="581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60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D25E0ECD-076A-4623-9A97-E467C7A4BE36}"/>
              </a:ext>
            </a:extLst>
          </p:cNvPr>
          <p:cNvCxnSpPr>
            <a:cxnSpLocks/>
          </p:cNvCxnSpPr>
          <p:nvPr userDrawn="1"/>
        </p:nvCxnSpPr>
        <p:spPr>
          <a:xfrm>
            <a:off x="11041809" y="101170"/>
            <a:ext cx="0" cy="41961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oupe 1">
            <a:extLst>
              <a:ext uri="{FF2B5EF4-FFF2-40B4-BE49-F238E27FC236}">
                <a16:creationId xmlns:a16="http://schemas.microsoft.com/office/drawing/2014/main" id="{06835329-14F4-4C97-A4C0-2CD60F94EEF0}"/>
              </a:ext>
            </a:extLst>
          </p:cNvPr>
          <p:cNvGrpSpPr/>
          <p:nvPr userDrawn="1"/>
        </p:nvGrpSpPr>
        <p:grpSpPr>
          <a:xfrm>
            <a:off x="10615192" y="173814"/>
            <a:ext cx="346318" cy="346967"/>
            <a:chOff x="11501102" y="171573"/>
            <a:chExt cx="419436" cy="388988"/>
          </a:xfrm>
        </p:grpSpPr>
        <p:sp>
          <p:nvSpPr>
            <p:cNvPr id="17" name="Freeform 13">
              <a:extLst>
                <a:ext uri="{FF2B5EF4-FFF2-40B4-BE49-F238E27FC236}">
                  <a16:creationId xmlns:a16="http://schemas.microsoft.com/office/drawing/2014/main" id="{00E9E478-7153-4154-8C97-EBB6D0408B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4">
              <a:extLst>
                <a:ext uri="{FF2B5EF4-FFF2-40B4-BE49-F238E27FC236}">
                  <a16:creationId xmlns:a16="http://schemas.microsoft.com/office/drawing/2014/main" id="{EE5EA69D-DC39-4F89-8B22-C46836BC61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47871029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Large title &amp; large RH image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1B342561-1DD2-4DA7-BA2A-C8E3856FE9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814" y="692696"/>
            <a:ext cx="4562476" cy="2421466"/>
          </a:xfrm>
        </p:spPr>
        <p:txBody>
          <a:bodyPr vert="horz" lIns="72000" tIns="0" rIns="0" bIns="0" rtlCol="0" anchor="b">
            <a:noAutofit/>
          </a:bodyPr>
          <a:lstStyle>
            <a:lvl1pPr>
              <a:lnSpc>
                <a:spcPct val="80000"/>
              </a:lnSpc>
              <a:defRPr lang="en-GB"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FC6DF15B-7249-491B-BFB7-9A33784178C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04813" y="3573040"/>
            <a:ext cx="4395787" cy="28082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8783823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Case-studies_Slide-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66B87D20-81EB-1949-AF8D-E0B7EB7EF5A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35998" y="2845637"/>
            <a:ext cx="2232025" cy="152053"/>
          </a:xfrm>
          <a:prstGeom prst="rect">
            <a:avLst/>
          </a:prstGeom>
        </p:spPr>
        <p:txBody>
          <a:bodyPr lIns="180000" tIns="0" rIns="180000" bIns="0"/>
          <a:lstStyle>
            <a:lvl1pPr>
              <a:lnSpc>
                <a:spcPts val="1100"/>
              </a:lnSpc>
              <a:spcBef>
                <a:spcPts val="900"/>
              </a:spcBef>
              <a:defRPr sz="900" b="1" i="0">
                <a:solidFill>
                  <a:schemeClr val="accent1"/>
                </a:solidFill>
                <a:latin typeface="Ubuntu" panose="020B050403060203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74D5A5D-E15E-0045-BDA1-1332D09F160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4770" y="1657349"/>
            <a:ext cx="5662891" cy="1179513"/>
          </a:xfrm>
          <a:prstGeom prst="rect">
            <a:avLst/>
          </a:prstGeom>
        </p:spPr>
        <p:txBody>
          <a:bodyPr lIns="180000" tIns="0" rIns="0" bIns="0" anchor="t"/>
          <a:lstStyle>
            <a:lvl1pPr>
              <a:lnSpc>
                <a:spcPts val="2600"/>
              </a:lnSpc>
              <a:spcBef>
                <a:spcPts val="0"/>
              </a:spcBef>
              <a:defRPr sz="2600" b="0" i="0" spc="0" baseline="0">
                <a:solidFill>
                  <a:schemeClr val="bg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054CFB0F-195D-FD4D-A24D-1EF18772755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76813" y="2988916"/>
            <a:ext cx="2259185" cy="2360612"/>
          </a:xfrm>
          <a:prstGeom prst="rect">
            <a:avLst/>
          </a:prstGeom>
        </p:spPr>
        <p:txBody>
          <a:bodyPr lIns="180000" tIns="72000" rIns="180000" bIns="0"/>
          <a:lstStyle>
            <a:lvl1pPr>
              <a:lnSpc>
                <a:spcPts val="1100"/>
              </a:lnSpc>
              <a:spcBef>
                <a:spcPts val="900"/>
              </a:spcBef>
              <a:spcAft>
                <a:spcPts val="0"/>
              </a:spcAft>
              <a:defRPr sz="900" b="0" i="0">
                <a:solidFill>
                  <a:schemeClr val="tx1"/>
                </a:solidFill>
                <a:latin typeface="Ubuntu" panose="020B050403060203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1A004E15-4724-6F41-97BB-FCC57CBBFD3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4188" y="2836862"/>
            <a:ext cx="4492625" cy="592138"/>
          </a:xfrm>
          <a:prstGeom prst="rect">
            <a:avLst/>
          </a:prstGeom>
        </p:spPr>
        <p:txBody>
          <a:bodyPr lIns="180000" tIns="72000" rIns="0" bIns="0"/>
          <a:lstStyle>
            <a:lvl1pPr>
              <a:lnSpc>
                <a:spcPts val="1400"/>
              </a:lnSpc>
              <a:defRPr sz="900" b="0" i="0" spc="200" baseline="0">
                <a:solidFill>
                  <a:schemeClr val="bg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4EA7DFAC-73E8-8349-BEF2-AF6815FCB0A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976813" y="2836863"/>
            <a:ext cx="2259185" cy="152053"/>
          </a:xfrm>
          <a:prstGeom prst="rect">
            <a:avLst/>
          </a:prstGeom>
        </p:spPr>
        <p:txBody>
          <a:bodyPr lIns="180000" tIns="0" rIns="180000" bIns="0"/>
          <a:lstStyle>
            <a:lvl1pPr>
              <a:lnSpc>
                <a:spcPts val="1100"/>
              </a:lnSpc>
              <a:spcBef>
                <a:spcPts val="900"/>
              </a:spcBef>
              <a:defRPr sz="900" b="1" i="0">
                <a:solidFill>
                  <a:schemeClr val="accent1"/>
                </a:solidFill>
                <a:latin typeface="Ubuntu" panose="020B050403060203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023448C0-3422-454D-A9D6-C74135483E5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480550" y="2988916"/>
            <a:ext cx="2232025" cy="2360612"/>
          </a:xfrm>
          <a:prstGeom prst="rect">
            <a:avLst/>
          </a:prstGeom>
        </p:spPr>
        <p:txBody>
          <a:bodyPr lIns="180000" tIns="72000" rIns="180000" bIns="0"/>
          <a:lstStyle>
            <a:lvl1pPr>
              <a:lnSpc>
                <a:spcPts val="1100"/>
              </a:lnSpc>
              <a:spcBef>
                <a:spcPts val="900"/>
              </a:spcBef>
              <a:spcAft>
                <a:spcPts val="0"/>
              </a:spcAft>
              <a:defRPr sz="900" b="0" i="0">
                <a:solidFill>
                  <a:schemeClr val="tx1"/>
                </a:solidFill>
                <a:latin typeface="Ubuntu" panose="020B050403060203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173330EE-32CB-C34D-9F1E-0DBFCDAE504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80550" y="2836863"/>
            <a:ext cx="2232025" cy="152053"/>
          </a:xfrm>
          <a:prstGeom prst="rect">
            <a:avLst/>
          </a:prstGeom>
        </p:spPr>
        <p:txBody>
          <a:bodyPr lIns="180000" tIns="0" rIns="180000" bIns="0"/>
          <a:lstStyle>
            <a:lvl1pPr>
              <a:lnSpc>
                <a:spcPts val="1100"/>
              </a:lnSpc>
              <a:spcBef>
                <a:spcPts val="900"/>
              </a:spcBef>
              <a:defRPr sz="900" b="1" i="0">
                <a:solidFill>
                  <a:schemeClr val="accent1"/>
                </a:solidFill>
                <a:latin typeface="Ubuntu" panose="020B050403060203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B1F2C190-3CA9-F649-8370-8D6AD65BAEA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235998" y="2997690"/>
            <a:ext cx="2232025" cy="2360612"/>
          </a:xfrm>
          <a:prstGeom prst="rect">
            <a:avLst/>
          </a:prstGeom>
        </p:spPr>
        <p:txBody>
          <a:bodyPr lIns="180000" tIns="72000" rIns="180000" bIns="0"/>
          <a:lstStyle>
            <a:lvl1pPr>
              <a:lnSpc>
                <a:spcPts val="1100"/>
              </a:lnSpc>
              <a:spcBef>
                <a:spcPts val="900"/>
              </a:spcBef>
              <a:spcAft>
                <a:spcPts val="0"/>
              </a:spcAft>
              <a:defRPr sz="900" b="0" i="0">
                <a:solidFill>
                  <a:schemeClr val="tx1"/>
                </a:solidFill>
                <a:latin typeface="Ubuntu" panose="020B050403060203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404939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URPLE_Blank Slide">
    <p:bg>
      <p:bgPr>
        <a:solidFill>
          <a:srgbClr val="2B0A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e 1">
            <a:extLst>
              <a:ext uri="{FF2B5EF4-FFF2-40B4-BE49-F238E27FC236}">
                <a16:creationId xmlns:a16="http://schemas.microsoft.com/office/drawing/2014/main" id="{C2F9E07A-D76B-3C4C-AE8D-A6BF8862337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562163" y="205059"/>
            <a:ext cx="419436" cy="388988"/>
            <a:chOff x="11501102" y="171573"/>
            <a:chExt cx="419436" cy="388988"/>
          </a:xfrm>
        </p:grpSpPr>
        <p:sp>
          <p:nvSpPr>
            <p:cNvPr id="3" name="Freeform 13">
              <a:extLst>
                <a:ext uri="{FF2B5EF4-FFF2-40B4-BE49-F238E27FC236}">
                  <a16:creationId xmlns:a16="http://schemas.microsoft.com/office/drawing/2014/main" id="{6B16B847-5E2B-4042-9331-93E3504A90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" name="Freeform 14">
              <a:extLst>
                <a:ext uri="{FF2B5EF4-FFF2-40B4-BE49-F238E27FC236}">
                  <a16:creationId xmlns:a16="http://schemas.microsoft.com/office/drawing/2014/main" id="{CE8D7BE0-094F-4149-AD99-3CC7358133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05376285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_Blank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e 1">
            <a:extLst>
              <a:ext uri="{FF2B5EF4-FFF2-40B4-BE49-F238E27FC236}">
                <a16:creationId xmlns:a16="http://schemas.microsoft.com/office/drawing/2014/main" id="{C2F9E07A-D76B-3C4C-AE8D-A6BF8862337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562163" y="205059"/>
            <a:ext cx="419436" cy="388988"/>
            <a:chOff x="11501102" y="171573"/>
            <a:chExt cx="419436" cy="388988"/>
          </a:xfrm>
        </p:grpSpPr>
        <p:sp>
          <p:nvSpPr>
            <p:cNvPr id="3" name="Freeform 13">
              <a:extLst>
                <a:ext uri="{FF2B5EF4-FFF2-40B4-BE49-F238E27FC236}">
                  <a16:creationId xmlns:a16="http://schemas.microsoft.com/office/drawing/2014/main" id="{6B16B847-5E2B-4042-9331-93E3504A90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" name="Freeform 14">
              <a:extLst>
                <a:ext uri="{FF2B5EF4-FFF2-40B4-BE49-F238E27FC236}">
                  <a16:creationId xmlns:a16="http://schemas.microsoft.com/office/drawing/2014/main" id="{CE8D7BE0-094F-4149-AD99-3CC7358133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78618953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Title Slide 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4" descr="Sphere of mesh and nodes">
            <a:extLst>
              <a:ext uri="{FF2B5EF4-FFF2-40B4-BE49-F238E27FC236}">
                <a16:creationId xmlns:a16="http://schemas.microsoft.com/office/drawing/2014/main" id="{37559471-E7A4-4A50-AD02-00B483F1F2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7" r="407"/>
          <a:stretch/>
        </p:blipFill>
        <p:spPr>
          <a:xfrm>
            <a:off x="3122409" y="0"/>
            <a:ext cx="9069591" cy="6858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64C1D56B-74BB-4A1A-8D3A-985D2981E89B}"/>
              </a:ext>
            </a:extLst>
          </p:cNvPr>
          <p:cNvSpPr/>
          <p:nvPr userDrawn="1"/>
        </p:nvSpPr>
        <p:spPr>
          <a:xfrm rot="16200000">
            <a:off x="2667002" y="-2667001"/>
            <a:ext cx="6858000" cy="12192001"/>
          </a:xfrm>
          <a:prstGeom prst="rect">
            <a:avLst/>
          </a:prstGeom>
          <a:gradFill flip="none" rotWithShape="1">
            <a:gsLst>
              <a:gs pos="43000">
                <a:srgbClr val="272936"/>
              </a:gs>
              <a:gs pos="0">
                <a:srgbClr val="272936"/>
              </a:gs>
              <a:gs pos="100000">
                <a:srgbClr val="272936">
                  <a:alpha val="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5A39C93-A915-45D6-953A-AAC473CA2F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4813" y="2293129"/>
            <a:ext cx="11386134" cy="2215991"/>
          </a:xfrm>
        </p:spPr>
        <p:txBody>
          <a:bodyPr wrap="square" lIns="36000" rIns="36000" bIns="0" anchor="b" anchorCtr="0">
            <a:spAutoFit/>
          </a:bodyPr>
          <a:lstStyle>
            <a:lvl1pPr algn="l">
              <a:lnSpc>
                <a:spcPct val="90000"/>
              </a:lnSpc>
              <a:defRPr sz="8000" b="1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81D5C5CA-E0F9-4194-9FD7-26150AB2A87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4813" y="4561383"/>
            <a:ext cx="11386134" cy="307777"/>
          </a:xfrm>
        </p:spPr>
        <p:txBody>
          <a:bodyPr wrap="square" lIns="36000" tIns="0" rIns="36000">
            <a:sp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pic>
        <p:nvPicPr>
          <p:cNvPr id="7" name="Image 6" descr="Capgemini">
            <a:extLst>
              <a:ext uri="{FF2B5EF4-FFF2-40B4-BE49-F238E27FC236}">
                <a16:creationId xmlns:a16="http://schemas.microsoft.com/office/drawing/2014/main" id="{873884F3-4760-488E-A25C-0D285C88AE3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408" y="260648"/>
            <a:ext cx="3024000" cy="122617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7376661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 Break dark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A5A39C93-A915-45D6-953A-AAC473CA2F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4813" y="2264961"/>
            <a:ext cx="11329987" cy="1477328"/>
          </a:xfrm>
        </p:spPr>
        <p:txBody>
          <a:bodyPr lIns="0" bIns="0" anchor="b" anchorCtr="0">
            <a:spAutoFit/>
          </a:bodyPr>
          <a:lstStyle>
            <a:lvl1pPr algn="l">
              <a:lnSpc>
                <a:spcPct val="80000"/>
              </a:lnSpc>
              <a:defRPr sz="60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81D5C5CA-E0F9-4194-9FD7-26150AB2A87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4813" y="3772800"/>
            <a:ext cx="11329987" cy="307777"/>
          </a:xfrm>
        </p:spPr>
        <p:txBody>
          <a:bodyPr lIns="0" tIns="0">
            <a:sp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744C52A-2030-4EFF-B1D2-B60B2B27989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4813" y="1825079"/>
            <a:ext cx="4611067" cy="307777"/>
          </a:xfrm>
        </p:spPr>
        <p:txBody>
          <a:bodyPr wrap="square" anchor="b">
            <a:spAutoFit/>
          </a:bodyPr>
          <a:lstStyle>
            <a:lvl1pPr>
              <a:defRPr>
                <a:solidFill>
                  <a:schemeClr val="accent2"/>
                </a:solidFill>
                <a:latin typeface="Ubuntu Light" panose="020B0304030602030204" pitchFamily="34" charset="0"/>
              </a:defRPr>
            </a:lvl1pPr>
            <a:lvl2pPr marL="88900" indent="0">
              <a:buNone/>
              <a:defRPr/>
            </a:lvl2pPr>
          </a:lstStyle>
          <a:p>
            <a:pPr lvl="0"/>
            <a:r>
              <a:rPr lang="fr-FR"/>
              <a:t>INSERT A LABEL/ALBEIT</a:t>
            </a:r>
          </a:p>
        </p:txBody>
      </p:sp>
    </p:spTree>
    <p:extLst>
      <p:ext uri="{BB962C8B-B14F-4D97-AF65-F5344CB8AC3E}">
        <p14:creationId xmlns:p14="http://schemas.microsoft.com/office/powerpoint/2010/main" val="4465348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013" y="8620"/>
            <a:ext cx="11414787" cy="1104900"/>
          </a:xfrm>
        </p:spPr>
        <p:txBody>
          <a:bodyPr vert="horz" lIns="0" tIns="180000" rIns="0" bIns="0" rtlCol="0" anchor="t">
            <a:noAutofit/>
          </a:bodyPr>
          <a:lstStyle>
            <a:lvl1pPr>
              <a:defRPr lang="en-GB" sz="2400" dirty="0"/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382778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1_Final Slide 2">
    <p:bg>
      <p:bgPr>
        <a:solidFill>
          <a:srgbClr val="27293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Image 15">
            <a:extLst>
              <a:ext uri="{FF2B5EF4-FFF2-40B4-BE49-F238E27FC236}">
                <a16:creationId xmlns:a16="http://schemas.microsoft.com/office/drawing/2014/main" id="{0489A022-D524-4B27-A5EC-7E24500CC9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214" y="1295400"/>
            <a:ext cx="9702386" cy="6043284"/>
          </a:xfrm>
          <a:prstGeom prst="rect">
            <a:avLst/>
          </a:prstGeom>
        </p:spPr>
      </p:pic>
      <p:pic>
        <p:nvPicPr>
          <p:cNvPr id="22" name="Picture 7" descr="facebook">
            <a:hlinkClick r:id="rId3"/>
            <a:extLst>
              <a:ext uri="{FF2B5EF4-FFF2-40B4-BE49-F238E27FC236}">
                <a16:creationId xmlns:a16="http://schemas.microsoft.com/office/drawing/2014/main" id="{BCC76D32-C587-45AA-A26C-ED5B038C86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26720" y="5328053"/>
            <a:ext cx="333195" cy="333195"/>
          </a:xfrm>
          <a:prstGeom prst="rect">
            <a:avLst/>
          </a:prstGeom>
          <a:noFill/>
        </p:spPr>
      </p:pic>
      <p:pic>
        <p:nvPicPr>
          <p:cNvPr id="17" name="Picture 2" descr="LinkedIn">
            <a:hlinkClick r:id="rId5"/>
            <a:extLst>
              <a:ext uri="{FF2B5EF4-FFF2-40B4-BE49-F238E27FC236}">
                <a16:creationId xmlns:a16="http://schemas.microsoft.com/office/drawing/2014/main" id="{F6DF1D6E-8462-43E1-AFC5-8A5C855024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10097" y="5328053"/>
            <a:ext cx="333195" cy="333195"/>
          </a:xfrm>
          <a:prstGeom prst="rect">
            <a:avLst/>
          </a:prstGeom>
          <a:noFill/>
        </p:spPr>
      </p:pic>
      <p:pic>
        <p:nvPicPr>
          <p:cNvPr id="19" name="Picture 4" descr="SlideShare">
            <a:hlinkClick r:id="rId7"/>
            <a:extLst>
              <a:ext uri="{FF2B5EF4-FFF2-40B4-BE49-F238E27FC236}">
                <a16:creationId xmlns:a16="http://schemas.microsoft.com/office/drawing/2014/main" id="{DA74C6D2-FFE3-4CE8-B52D-0A33097AEE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193474" y="5328053"/>
            <a:ext cx="333195" cy="333195"/>
          </a:xfrm>
          <a:prstGeom prst="rect">
            <a:avLst/>
          </a:prstGeom>
          <a:noFill/>
        </p:spPr>
      </p:pic>
      <p:pic>
        <p:nvPicPr>
          <p:cNvPr id="20" name="Picture 5" descr="Twitter">
            <a:hlinkClick r:id="rId9"/>
            <a:extLst>
              <a:ext uri="{FF2B5EF4-FFF2-40B4-BE49-F238E27FC236}">
                <a16:creationId xmlns:a16="http://schemas.microsoft.com/office/drawing/2014/main" id="{14E10122-92A2-4535-9737-8C1BE0EE0A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576851" y="5328053"/>
            <a:ext cx="333195" cy="333195"/>
          </a:xfrm>
          <a:prstGeom prst="rect">
            <a:avLst/>
          </a:prstGeom>
          <a:noFill/>
        </p:spPr>
      </p:pic>
      <p:pic>
        <p:nvPicPr>
          <p:cNvPr id="21" name="Picture 6" descr="YouTube">
            <a:hlinkClick r:id="rId11"/>
            <a:extLst>
              <a:ext uri="{FF2B5EF4-FFF2-40B4-BE49-F238E27FC236}">
                <a16:creationId xmlns:a16="http://schemas.microsoft.com/office/drawing/2014/main" id="{BA6EF96A-02CA-41A1-9095-358FE74866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1960227" y="5328053"/>
            <a:ext cx="333195" cy="333195"/>
          </a:xfrm>
          <a:prstGeom prst="rect">
            <a:avLst/>
          </a:prstGeom>
          <a:noFill/>
        </p:spPr>
      </p:pic>
      <p:sp>
        <p:nvSpPr>
          <p:cNvPr id="57" name="Rectangle 56"/>
          <p:cNvSpPr/>
          <p:nvPr/>
        </p:nvSpPr>
        <p:spPr>
          <a:xfrm>
            <a:off x="426720" y="5840235"/>
            <a:ext cx="3221008" cy="40011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lvl="0">
              <a:spcAft>
                <a:spcPts val="600"/>
              </a:spcAft>
            </a:pPr>
            <a:r>
              <a:rPr lang="en-US" sz="700" noProof="0">
                <a:solidFill>
                  <a:schemeClr val="bg1"/>
                </a:solidFill>
                <a:latin typeface="Ubuntu" panose="020B0504030602030204" pitchFamily="34" charset="0"/>
                <a:cs typeface="Arial"/>
              </a:rPr>
              <a:t>This presentation contains information that may be privileged or confidential and is the property of the Capgemini Group.</a:t>
            </a:r>
          </a:p>
          <a:p>
            <a:pPr lvl="0">
              <a:spcAft>
                <a:spcPts val="600"/>
              </a:spcAft>
            </a:pPr>
            <a:r>
              <a:rPr lang="en-US" sz="700" noProof="0">
                <a:solidFill>
                  <a:schemeClr val="bg1"/>
                </a:solidFill>
                <a:latin typeface="Ubuntu" panose="020B0504030602030204" pitchFamily="34" charset="0"/>
                <a:cs typeface="Arial"/>
              </a:rPr>
              <a:t>Copyright © 2023 Capgemini. All rights reserved.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665BE2A4-4ACC-4E54-9A85-77DFC7F65F01}"/>
              </a:ext>
            </a:extLst>
          </p:cNvPr>
          <p:cNvGrpSpPr>
            <a:grpSpLocks noChangeAspect="1"/>
          </p:cNvGrpSpPr>
          <p:nvPr/>
        </p:nvGrpSpPr>
        <p:grpSpPr>
          <a:xfrm>
            <a:off x="9161718" y="5747778"/>
            <a:ext cx="2231297" cy="501650"/>
            <a:chOff x="9550400" y="612775"/>
            <a:chExt cx="2231297" cy="501650"/>
          </a:xfrm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0CE61B69-C06F-4D0A-9437-BC399186700C}"/>
                </a:ext>
              </a:extLst>
            </p:cNvPr>
            <p:cNvSpPr/>
            <p:nvPr/>
          </p:nvSpPr>
          <p:spPr>
            <a:xfrm>
              <a:off x="11517270" y="764033"/>
              <a:ext cx="261161" cy="212194"/>
            </a:xfrm>
            <a:custGeom>
              <a:avLst/>
              <a:gdLst>
                <a:gd name="connsiteX0" fmla="*/ 304324 w 457200"/>
                <a:gd name="connsiteY0" fmla="*/ 261461 h 371475"/>
                <a:gd name="connsiteX1" fmla="*/ 456724 w 457200"/>
                <a:gd name="connsiteY1" fmla="*/ 110014 h 371475"/>
                <a:gd name="connsiteX2" fmla="*/ 344329 w 457200"/>
                <a:gd name="connsiteY2" fmla="*/ 7144 h 371475"/>
                <a:gd name="connsiteX3" fmla="*/ 125254 w 457200"/>
                <a:gd name="connsiteY3" fmla="*/ 241459 h 371475"/>
                <a:gd name="connsiteX4" fmla="*/ 7144 w 457200"/>
                <a:gd name="connsiteY4" fmla="*/ 348139 h 371475"/>
                <a:gd name="connsiteX5" fmla="*/ 96679 w 457200"/>
                <a:gd name="connsiteY5" fmla="*/ 372904 h 371475"/>
                <a:gd name="connsiteX6" fmla="*/ 306229 w 457200"/>
                <a:gd name="connsiteY6" fmla="*/ 304324 h 371475"/>
                <a:gd name="connsiteX7" fmla="*/ 200501 w 457200"/>
                <a:gd name="connsiteY7" fmla="*/ 210026 h 371475"/>
                <a:gd name="connsiteX8" fmla="*/ 304324 w 457200"/>
                <a:gd name="connsiteY8" fmla="*/ 261461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57200" h="371475">
                  <a:moveTo>
                    <a:pt x="304324" y="261461"/>
                  </a:moveTo>
                  <a:cubicBezTo>
                    <a:pt x="390049" y="261461"/>
                    <a:pt x="455771" y="191929"/>
                    <a:pt x="456724" y="110014"/>
                  </a:cubicBezTo>
                  <a:cubicBezTo>
                    <a:pt x="451009" y="73819"/>
                    <a:pt x="438626" y="7144"/>
                    <a:pt x="344329" y="7144"/>
                  </a:cubicBezTo>
                  <a:cubicBezTo>
                    <a:pt x="242411" y="7144"/>
                    <a:pt x="208121" y="150019"/>
                    <a:pt x="125254" y="241459"/>
                  </a:cubicBezTo>
                  <a:cubicBezTo>
                    <a:pt x="118586" y="293846"/>
                    <a:pt x="69056" y="340519"/>
                    <a:pt x="7144" y="348139"/>
                  </a:cubicBezTo>
                  <a:cubicBezTo>
                    <a:pt x="22384" y="364331"/>
                    <a:pt x="55721" y="372904"/>
                    <a:pt x="96679" y="372904"/>
                  </a:cubicBezTo>
                  <a:cubicBezTo>
                    <a:pt x="170021" y="372904"/>
                    <a:pt x="259556" y="350996"/>
                    <a:pt x="306229" y="304324"/>
                  </a:cubicBezTo>
                  <a:cubicBezTo>
                    <a:pt x="244316" y="305276"/>
                    <a:pt x="204311" y="265271"/>
                    <a:pt x="200501" y="210026"/>
                  </a:cubicBezTo>
                  <a:cubicBezTo>
                    <a:pt x="230029" y="247174"/>
                    <a:pt x="264319" y="261461"/>
                    <a:pt x="304324" y="261461"/>
                  </a:cubicBezTo>
                  <a:close/>
                </a:path>
              </a:pathLst>
            </a:custGeom>
            <a:solidFill>
              <a:srgbClr val="17ABDB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96F08509-FA85-4193-A497-0E692E886745}"/>
                </a:ext>
              </a:extLst>
            </p:cNvPr>
            <p:cNvSpPr/>
            <p:nvPr/>
          </p:nvSpPr>
          <p:spPr>
            <a:xfrm>
              <a:off x="9550400" y="619305"/>
              <a:ext cx="1811806" cy="495120"/>
            </a:xfrm>
            <a:custGeom>
              <a:avLst/>
              <a:gdLst>
                <a:gd name="connsiteX0" fmla="*/ 3092291 w 3171825"/>
                <a:gd name="connsiteY0" fmla="*/ 287179 h 866775"/>
                <a:gd name="connsiteX1" fmla="*/ 3059907 w 3171825"/>
                <a:gd name="connsiteY1" fmla="*/ 211931 h 866775"/>
                <a:gd name="connsiteX2" fmla="*/ 3027521 w 3171825"/>
                <a:gd name="connsiteY2" fmla="*/ 218599 h 866775"/>
                <a:gd name="connsiteX3" fmla="*/ 2960846 w 3171825"/>
                <a:gd name="connsiteY3" fmla="*/ 507206 h 866775"/>
                <a:gd name="connsiteX4" fmla="*/ 2816066 w 3171825"/>
                <a:gd name="connsiteY4" fmla="*/ 178594 h 866775"/>
                <a:gd name="connsiteX5" fmla="*/ 2679859 w 3171825"/>
                <a:gd name="connsiteY5" fmla="*/ 440531 h 866775"/>
                <a:gd name="connsiteX6" fmla="*/ 2670334 w 3171825"/>
                <a:gd name="connsiteY6" fmla="*/ 319564 h 866775"/>
                <a:gd name="connsiteX7" fmla="*/ 2677001 w 3171825"/>
                <a:gd name="connsiteY7" fmla="*/ 254794 h 866775"/>
                <a:gd name="connsiteX8" fmla="*/ 2611279 w 3171825"/>
                <a:gd name="connsiteY8" fmla="*/ 209074 h 866775"/>
                <a:gd name="connsiteX9" fmla="*/ 2533174 w 3171825"/>
                <a:gd name="connsiteY9" fmla="*/ 510064 h 866775"/>
                <a:gd name="connsiteX10" fmla="*/ 2470309 w 3171825"/>
                <a:gd name="connsiteY10" fmla="*/ 292894 h 866775"/>
                <a:gd name="connsiteX11" fmla="*/ 2405539 w 3171825"/>
                <a:gd name="connsiteY11" fmla="*/ 208121 h 866775"/>
                <a:gd name="connsiteX12" fmla="*/ 2325529 w 3171825"/>
                <a:gd name="connsiteY12" fmla="*/ 494824 h 866775"/>
                <a:gd name="connsiteX13" fmla="*/ 2206466 w 3171825"/>
                <a:gd name="connsiteY13" fmla="*/ 211931 h 866775"/>
                <a:gd name="connsiteX14" fmla="*/ 2087404 w 3171825"/>
                <a:gd name="connsiteY14" fmla="*/ 479584 h 866775"/>
                <a:gd name="connsiteX15" fmla="*/ 1983581 w 3171825"/>
                <a:gd name="connsiteY15" fmla="*/ 178594 h 866775"/>
                <a:gd name="connsiteX16" fmla="*/ 1877854 w 3171825"/>
                <a:gd name="connsiteY16" fmla="*/ 391954 h 866775"/>
                <a:gd name="connsiteX17" fmla="*/ 1867376 w 3171825"/>
                <a:gd name="connsiteY17" fmla="*/ 390049 h 866775"/>
                <a:gd name="connsiteX18" fmla="*/ 1866424 w 3171825"/>
                <a:gd name="connsiteY18" fmla="*/ 327184 h 866775"/>
                <a:gd name="connsiteX19" fmla="*/ 1807369 w 3171825"/>
                <a:gd name="connsiteY19" fmla="*/ 202406 h 866775"/>
                <a:gd name="connsiteX20" fmla="*/ 1654969 w 3171825"/>
                <a:gd name="connsiteY20" fmla="*/ 512921 h 866775"/>
                <a:gd name="connsiteX21" fmla="*/ 1592104 w 3171825"/>
                <a:gd name="connsiteY21" fmla="*/ 483394 h 866775"/>
                <a:gd name="connsiteX22" fmla="*/ 1719739 w 3171825"/>
                <a:gd name="connsiteY22" fmla="*/ 306229 h 866775"/>
                <a:gd name="connsiteX23" fmla="*/ 1619726 w 3171825"/>
                <a:gd name="connsiteY23" fmla="*/ 202406 h 866775"/>
                <a:gd name="connsiteX24" fmla="*/ 1483519 w 3171825"/>
                <a:gd name="connsiteY24" fmla="*/ 369094 h 866775"/>
                <a:gd name="connsiteX25" fmla="*/ 1503521 w 3171825"/>
                <a:gd name="connsiteY25" fmla="*/ 473869 h 866775"/>
                <a:gd name="connsiteX26" fmla="*/ 1418749 w 3171825"/>
                <a:gd name="connsiteY26" fmla="*/ 512921 h 866775"/>
                <a:gd name="connsiteX27" fmla="*/ 1400651 w 3171825"/>
                <a:gd name="connsiteY27" fmla="*/ 274796 h 866775"/>
                <a:gd name="connsiteX28" fmla="*/ 1336834 w 3171825"/>
                <a:gd name="connsiteY28" fmla="*/ 326231 h 866775"/>
                <a:gd name="connsiteX29" fmla="*/ 1262539 w 3171825"/>
                <a:gd name="connsiteY29" fmla="*/ 479584 h 866775"/>
                <a:gd name="connsiteX30" fmla="*/ 1223486 w 3171825"/>
                <a:gd name="connsiteY30" fmla="*/ 421481 h 866775"/>
                <a:gd name="connsiteX31" fmla="*/ 1402556 w 3171825"/>
                <a:gd name="connsiteY31" fmla="*/ 250031 h 866775"/>
                <a:gd name="connsiteX32" fmla="*/ 1343501 w 3171825"/>
                <a:gd name="connsiteY32" fmla="*/ 192881 h 866775"/>
                <a:gd name="connsiteX33" fmla="*/ 1181576 w 3171825"/>
                <a:gd name="connsiteY33" fmla="*/ 290989 h 866775"/>
                <a:gd name="connsiteX34" fmla="*/ 1086326 w 3171825"/>
                <a:gd name="connsiteY34" fmla="*/ 385286 h 866775"/>
                <a:gd name="connsiteX35" fmla="*/ 1088231 w 3171825"/>
                <a:gd name="connsiteY35" fmla="*/ 358616 h 866775"/>
                <a:gd name="connsiteX36" fmla="*/ 974884 w 3171825"/>
                <a:gd name="connsiteY36" fmla="*/ 204311 h 866775"/>
                <a:gd name="connsiteX37" fmla="*/ 883444 w 3171825"/>
                <a:gd name="connsiteY37" fmla="*/ 273844 h 866775"/>
                <a:gd name="connsiteX38" fmla="*/ 846296 w 3171825"/>
                <a:gd name="connsiteY38" fmla="*/ 213836 h 866775"/>
                <a:gd name="connsiteX39" fmla="*/ 805339 w 3171825"/>
                <a:gd name="connsiteY39" fmla="*/ 224314 h 866775"/>
                <a:gd name="connsiteX40" fmla="*/ 814864 w 3171825"/>
                <a:gd name="connsiteY40" fmla="*/ 334804 h 866775"/>
                <a:gd name="connsiteX41" fmla="*/ 742474 w 3171825"/>
                <a:gd name="connsiteY41" fmla="*/ 520541 h 866775"/>
                <a:gd name="connsiteX42" fmla="*/ 691991 w 3171825"/>
                <a:gd name="connsiteY42" fmla="*/ 309086 h 866775"/>
                <a:gd name="connsiteX43" fmla="*/ 671989 w 3171825"/>
                <a:gd name="connsiteY43" fmla="*/ 305276 h 866775"/>
                <a:gd name="connsiteX44" fmla="*/ 621506 w 3171825"/>
                <a:gd name="connsiteY44" fmla="*/ 399574 h 866775"/>
                <a:gd name="connsiteX45" fmla="*/ 539591 w 3171825"/>
                <a:gd name="connsiteY45" fmla="*/ 512921 h 866775"/>
                <a:gd name="connsiteX46" fmla="*/ 495776 w 3171825"/>
                <a:gd name="connsiteY46" fmla="*/ 443389 h 866775"/>
                <a:gd name="connsiteX47" fmla="*/ 685324 w 3171825"/>
                <a:gd name="connsiteY47" fmla="*/ 278606 h 866775"/>
                <a:gd name="connsiteX48" fmla="*/ 627221 w 3171825"/>
                <a:gd name="connsiteY48" fmla="*/ 214789 h 866775"/>
                <a:gd name="connsiteX49" fmla="*/ 437674 w 3171825"/>
                <a:gd name="connsiteY49" fmla="*/ 355759 h 866775"/>
                <a:gd name="connsiteX50" fmla="*/ 237649 w 3171825"/>
                <a:gd name="connsiteY50" fmla="*/ 529114 h 866775"/>
                <a:gd name="connsiteX51" fmla="*/ 97631 w 3171825"/>
                <a:gd name="connsiteY51" fmla="*/ 313849 h 866775"/>
                <a:gd name="connsiteX52" fmla="*/ 261461 w 3171825"/>
                <a:gd name="connsiteY52" fmla="*/ 69056 h 866775"/>
                <a:gd name="connsiteX53" fmla="*/ 329089 w 3171825"/>
                <a:gd name="connsiteY53" fmla="*/ 181451 h 866775"/>
                <a:gd name="connsiteX54" fmla="*/ 410051 w 3171825"/>
                <a:gd name="connsiteY54" fmla="*/ 121444 h 866775"/>
                <a:gd name="connsiteX55" fmla="*/ 265271 w 3171825"/>
                <a:gd name="connsiteY55" fmla="*/ 7144 h 866775"/>
                <a:gd name="connsiteX56" fmla="*/ 7144 w 3171825"/>
                <a:gd name="connsiteY56" fmla="*/ 324326 h 866775"/>
                <a:gd name="connsiteX57" fmla="*/ 220504 w 3171825"/>
                <a:gd name="connsiteY57" fmla="*/ 601504 h 866775"/>
                <a:gd name="connsiteX58" fmla="*/ 425291 w 3171825"/>
                <a:gd name="connsiteY58" fmla="*/ 472916 h 866775"/>
                <a:gd name="connsiteX59" fmla="*/ 525304 w 3171825"/>
                <a:gd name="connsiteY59" fmla="*/ 576739 h 866775"/>
                <a:gd name="connsiteX60" fmla="*/ 646271 w 3171825"/>
                <a:gd name="connsiteY60" fmla="*/ 485299 h 866775"/>
                <a:gd name="connsiteX61" fmla="*/ 734854 w 3171825"/>
                <a:gd name="connsiteY61" fmla="*/ 576739 h 866775"/>
                <a:gd name="connsiteX62" fmla="*/ 812959 w 3171825"/>
                <a:gd name="connsiteY62" fmla="*/ 532924 h 866775"/>
                <a:gd name="connsiteX63" fmla="*/ 904399 w 3171825"/>
                <a:gd name="connsiteY63" fmla="*/ 810101 h 866775"/>
                <a:gd name="connsiteX64" fmla="*/ 882491 w 3171825"/>
                <a:gd name="connsiteY64" fmla="*/ 577691 h 866775"/>
                <a:gd name="connsiteX65" fmla="*/ 969169 w 3171825"/>
                <a:gd name="connsiteY65" fmla="*/ 267176 h 866775"/>
                <a:gd name="connsiteX66" fmla="*/ 1015841 w 3171825"/>
                <a:gd name="connsiteY66" fmla="*/ 359569 h 866775"/>
                <a:gd name="connsiteX67" fmla="*/ 1007269 w 3171825"/>
                <a:gd name="connsiteY67" fmla="*/ 440531 h 866775"/>
                <a:gd name="connsiteX68" fmla="*/ 900589 w 3171825"/>
                <a:gd name="connsiteY68" fmla="*/ 545306 h 866775"/>
                <a:gd name="connsiteX69" fmla="*/ 941546 w 3171825"/>
                <a:gd name="connsiteY69" fmla="*/ 577691 h 866775"/>
                <a:gd name="connsiteX70" fmla="*/ 1072039 w 3171825"/>
                <a:gd name="connsiteY70" fmla="*/ 449104 h 866775"/>
                <a:gd name="connsiteX71" fmla="*/ 1150144 w 3171825"/>
                <a:gd name="connsiteY71" fmla="*/ 390049 h 866775"/>
                <a:gd name="connsiteX72" fmla="*/ 1149191 w 3171825"/>
                <a:gd name="connsiteY72" fmla="*/ 415766 h 866775"/>
                <a:gd name="connsiteX73" fmla="*/ 1244441 w 3171825"/>
                <a:gd name="connsiteY73" fmla="*/ 550069 h 866775"/>
                <a:gd name="connsiteX74" fmla="*/ 1349216 w 3171825"/>
                <a:gd name="connsiteY74" fmla="*/ 469106 h 866775"/>
                <a:gd name="connsiteX75" fmla="*/ 1352074 w 3171825"/>
                <a:gd name="connsiteY75" fmla="*/ 547211 h 866775"/>
                <a:gd name="connsiteX76" fmla="*/ 1155859 w 3171825"/>
                <a:gd name="connsiteY76" fmla="*/ 754856 h 866775"/>
                <a:gd name="connsiteX77" fmla="*/ 1259681 w 3171825"/>
                <a:gd name="connsiteY77" fmla="*/ 864394 h 866775"/>
                <a:gd name="connsiteX78" fmla="*/ 1419701 w 3171825"/>
                <a:gd name="connsiteY78" fmla="*/ 569119 h 866775"/>
                <a:gd name="connsiteX79" fmla="*/ 1529239 w 3171825"/>
                <a:gd name="connsiteY79" fmla="*/ 518636 h 866775"/>
                <a:gd name="connsiteX80" fmla="*/ 1640681 w 3171825"/>
                <a:gd name="connsiteY80" fmla="*/ 576739 h 866775"/>
                <a:gd name="connsiteX81" fmla="*/ 1813084 w 3171825"/>
                <a:gd name="connsiteY81" fmla="*/ 459581 h 866775"/>
                <a:gd name="connsiteX82" fmla="*/ 1868329 w 3171825"/>
                <a:gd name="connsiteY82" fmla="*/ 576739 h 866775"/>
                <a:gd name="connsiteX83" fmla="*/ 1980724 w 3171825"/>
                <a:gd name="connsiteY83" fmla="*/ 273844 h 866775"/>
                <a:gd name="connsiteX84" fmla="*/ 2074069 w 3171825"/>
                <a:gd name="connsiteY84" fmla="*/ 601504 h 866775"/>
                <a:gd name="connsiteX85" fmla="*/ 2198846 w 3171825"/>
                <a:gd name="connsiteY85" fmla="*/ 312896 h 866775"/>
                <a:gd name="connsiteX86" fmla="*/ 2307432 w 3171825"/>
                <a:gd name="connsiteY86" fmla="*/ 576739 h 866775"/>
                <a:gd name="connsiteX87" fmla="*/ 2412207 w 3171825"/>
                <a:gd name="connsiteY87" fmla="*/ 428149 h 866775"/>
                <a:gd name="connsiteX88" fmla="*/ 2521744 w 3171825"/>
                <a:gd name="connsiteY88" fmla="*/ 576739 h 866775"/>
                <a:gd name="connsiteX89" fmla="*/ 2618899 w 3171825"/>
                <a:gd name="connsiteY89" fmla="*/ 486251 h 866775"/>
                <a:gd name="connsiteX90" fmla="*/ 2670334 w 3171825"/>
                <a:gd name="connsiteY90" fmla="*/ 576739 h 866775"/>
                <a:gd name="connsiteX91" fmla="*/ 2803684 w 3171825"/>
                <a:gd name="connsiteY91" fmla="*/ 274796 h 866775"/>
                <a:gd name="connsiteX92" fmla="*/ 2947511 w 3171825"/>
                <a:gd name="connsiteY92" fmla="*/ 576739 h 866775"/>
                <a:gd name="connsiteX93" fmla="*/ 3040857 w 3171825"/>
                <a:gd name="connsiteY93" fmla="*/ 474821 h 866775"/>
                <a:gd name="connsiteX94" fmla="*/ 3121819 w 3171825"/>
                <a:gd name="connsiteY94" fmla="*/ 576739 h 866775"/>
                <a:gd name="connsiteX95" fmla="*/ 3169444 w 3171825"/>
                <a:gd name="connsiteY95" fmla="*/ 550069 h 866775"/>
                <a:gd name="connsiteX96" fmla="*/ 3092291 w 3171825"/>
                <a:gd name="connsiteY96" fmla="*/ 287179 h 866775"/>
                <a:gd name="connsiteX97" fmla="*/ 1267301 w 3171825"/>
                <a:gd name="connsiteY97" fmla="*/ 806291 h 866775"/>
                <a:gd name="connsiteX98" fmla="*/ 1226344 w 3171825"/>
                <a:gd name="connsiteY98" fmla="*/ 751999 h 866775"/>
                <a:gd name="connsiteX99" fmla="*/ 1353026 w 3171825"/>
                <a:gd name="connsiteY99" fmla="*/ 597694 h 866775"/>
                <a:gd name="connsiteX100" fmla="*/ 1267301 w 3171825"/>
                <a:gd name="connsiteY100" fmla="*/ 806291 h 866775"/>
                <a:gd name="connsiteX101" fmla="*/ 1614964 w 3171825"/>
                <a:gd name="connsiteY101" fmla="*/ 257651 h 866775"/>
                <a:gd name="connsiteX102" fmla="*/ 1653064 w 3171825"/>
                <a:gd name="connsiteY102" fmla="*/ 315754 h 866775"/>
                <a:gd name="connsiteX103" fmla="*/ 1569244 w 3171825"/>
                <a:gd name="connsiteY103" fmla="*/ 438626 h 866775"/>
                <a:gd name="connsiteX104" fmla="*/ 1614964 w 3171825"/>
                <a:gd name="connsiteY104" fmla="*/ 257651 h 866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3171825" h="866775">
                  <a:moveTo>
                    <a:pt x="3092291" y="287179"/>
                  </a:moveTo>
                  <a:cubicBezTo>
                    <a:pt x="3092291" y="241459"/>
                    <a:pt x="3089434" y="211931"/>
                    <a:pt x="3059907" y="211931"/>
                  </a:cubicBezTo>
                  <a:cubicBezTo>
                    <a:pt x="3046571" y="211931"/>
                    <a:pt x="3039904" y="214789"/>
                    <a:pt x="3027521" y="218599"/>
                  </a:cubicBezTo>
                  <a:cubicBezTo>
                    <a:pt x="3037999" y="371951"/>
                    <a:pt x="3003709" y="507206"/>
                    <a:pt x="2960846" y="507206"/>
                  </a:cubicBezTo>
                  <a:cubicBezTo>
                    <a:pt x="2905601" y="507206"/>
                    <a:pt x="2933224" y="178594"/>
                    <a:pt x="2816066" y="178594"/>
                  </a:cubicBezTo>
                  <a:cubicBezTo>
                    <a:pt x="2707482" y="178594"/>
                    <a:pt x="2692241" y="440531"/>
                    <a:pt x="2679859" y="440531"/>
                  </a:cubicBezTo>
                  <a:cubicBezTo>
                    <a:pt x="2671286" y="440531"/>
                    <a:pt x="2670334" y="371951"/>
                    <a:pt x="2670334" y="319564"/>
                  </a:cubicBezTo>
                  <a:cubicBezTo>
                    <a:pt x="2675096" y="294799"/>
                    <a:pt x="2677001" y="271939"/>
                    <a:pt x="2677001" y="254794"/>
                  </a:cubicBezTo>
                  <a:cubicBezTo>
                    <a:pt x="2677001" y="230029"/>
                    <a:pt x="2667476" y="188119"/>
                    <a:pt x="2611279" y="209074"/>
                  </a:cubicBezTo>
                  <a:cubicBezTo>
                    <a:pt x="2613184" y="396716"/>
                    <a:pt x="2576036" y="510064"/>
                    <a:pt x="2533174" y="510064"/>
                  </a:cubicBezTo>
                  <a:cubicBezTo>
                    <a:pt x="2471261" y="510064"/>
                    <a:pt x="2470309" y="340519"/>
                    <a:pt x="2470309" y="292894"/>
                  </a:cubicBezTo>
                  <a:cubicBezTo>
                    <a:pt x="2470309" y="247174"/>
                    <a:pt x="2473166" y="186214"/>
                    <a:pt x="2405539" y="208121"/>
                  </a:cubicBezTo>
                  <a:cubicBezTo>
                    <a:pt x="2395061" y="371951"/>
                    <a:pt x="2352199" y="494824"/>
                    <a:pt x="2325529" y="494824"/>
                  </a:cubicBezTo>
                  <a:cubicBezTo>
                    <a:pt x="2285524" y="494824"/>
                    <a:pt x="2293144" y="211931"/>
                    <a:pt x="2206466" y="211931"/>
                  </a:cubicBezTo>
                  <a:cubicBezTo>
                    <a:pt x="2128361" y="211931"/>
                    <a:pt x="2103596" y="479584"/>
                    <a:pt x="2087404" y="479584"/>
                  </a:cubicBezTo>
                  <a:cubicBezTo>
                    <a:pt x="2057876" y="479584"/>
                    <a:pt x="2096929" y="178594"/>
                    <a:pt x="1983581" y="178594"/>
                  </a:cubicBezTo>
                  <a:cubicBezTo>
                    <a:pt x="1924526" y="178594"/>
                    <a:pt x="1900714" y="279559"/>
                    <a:pt x="1877854" y="391954"/>
                  </a:cubicBezTo>
                  <a:cubicBezTo>
                    <a:pt x="1873091" y="413861"/>
                    <a:pt x="1868329" y="414814"/>
                    <a:pt x="1867376" y="390049"/>
                  </a:cubicBezTo>
                  <a:cubicBezTo>
                    <a:pt x="1866424" y="370046"/>
                    <a:pt x="1866424" y="347186"/>
                    <a:pt x="1866424" y="327184"/>
                  </a:cubicBezTo>
                  <a:cubicBezTo>
                    <a:pt x="1894999" y="213836"/>
                    <a:pt x="1859756" y="171926"/>
                    <a:pt x="1807369" y="202406"/>
                  </a:cubicBezTo>
                  <a:cubicBezTo>
                    <a:pt x="1824514" y="411004"/>
                    <a:pt x="1728311" y="512921"/>
                    <a:pt x="1654969" y="512921"/>
                  </a:cubicBezTo>
                  <a:cubicBezTo>
                    <a:pt x="1628299" y="512921"/>
                    <a:pt x="1607344" y="501491"/>
                    <a:pt x="1592104" y="483394"/>
                  </a:cubicBezTo>
                  <a:cubicBezTo>
                    <a:pt x="1680686" y="429101"/>
                    <a:pt x="1719739" y="367189"/>
                    <a:pt x="1719739" y="306229"/>
                  </a:cubicBezTo>
                  <a:cubicBezTo>
                    <a:pt x="1719739" y="240506"/>
                    <a:pt x="1681639" y="202406"/>
                    <a:pt x="1619726" y="202406"/>
                  </a:cubicBezTo>
                  <a:cubicBezTo>
                    <a:pt x="1532096" y="202406"/>
                    <a:pt x="1483519" y="292894"/>
                    <a:pt x="1483519" y="369094"/>
                  </a:cubicBezTo>
                  <a:cubicBezTo>
                    <a:pt x="1483519" y="410051"/>
                    <a:pt x="1491139" y="445294"/>
                    <a:pt x="1503521" y="473869"/>
                  </a:cubicBezTo>
                  <a:cubicBezTo>
                    <a:pt x="1473041" y="488156"/>
                    <a:pt x="1445419" y="500539"/>
                    <a:pt x="1418749" y="512921"/>
                  </a:cubicBezTo>
                  <a:cubicBezTo>
                    <a:pt x="1416844" y="433864"/>
                    <a:pt x="1407319" y="350996"/>
                    <a:pt x="1400651" y="274796"/>
                  </a:cubicBezTo>
                  <a:cubicBezTo>
                    <a:pt x="1353979" y="262414"/>
                    <a:pt x="1340644" y="284321"/>
                    <a:pt x="1336834" y="326231"/>
                  </a:cubicBezTo>
                  <a:cubicBezTo>
                    <a:pt x="1328261" y="420529"/>
                    <a:pt x="1293971" y="479584"/>
                    <a:pt x="1262539" y="479584"/>
                  </a:cubicBezTo>
                  <a:cubicBezTo>
                    <a:pt x="1239679" y="479584"/>
                    <a:pt x="1225391" y="451009"/>
                    <a:pt x="1223486" y="421481"/>
                  </a:cubicBezTo>
                  <a:cubicBezTo>
                    <a:pt x="1214914" y="270034"/>
                    <a:pt x="1337786" y="228124"/>
                    <a:pt x="1402556" y="250031"/>
                  </a:cubicBezTo>
                  <a:cubicBezTo>
                    <a:pt x="1415891" y="216694"/>
                    <a:pt x="1401604" y="192881"/>
                    <a:pt x="1343501" y="192881"/>
                  </a:cubicBezTo>
                  <a:cubicBezTo>
                    <a:pt x="1273016" y="192881"/>
                    <a:pt x="1220629" y="235744"/>
                    <a:pt x="1181576" y="290989"/>
                  </a:cubicBezTo>
                  <a:cubicBezTo>
                    <a:pt x="1155859" y="327184"/>
                    <a:pt x="1126331" y="353854"/>
                    <a:pt x="1086326" y="385286"/>
                  </a:cubicBezTo>
                  <a:cubicBezTo>
                    <a:pt x="1087279" y="375761"/>
                    <a:pt x="1088231" y="367189"/>
                    <a:pt x="1088231" y="358616"/>
                  </a:cubicBezTo>
                  <a:cubicBezTo>
                    <a:pt x="1088231" y="251936"/>
                    <a:pt x="1030129" y="204311"/>
                    <a:pt x="974884" y="204311"/>
                  </a:cubicBezTo>
                  <a:cubicBezTo>
                    <a:pt x="929164" y="204311"/>
                    <a:pt x="900589" y="231934"/>
                    <a:pt x="883444" y="273844"/>
                  </a:cubicBezTo>
                  <a:cubicBezTo>
                    <a:pt x="879634" y="231934"/>
                    <a:pt x="871061" y="213836"/>
                    <a:pt x="846296" y="213836"/>
                  </a:cubicBezTo>
                  <a:cubicBezTo>
                    <a:pt x="835819" y="213836"/>
                    <a:pt x="821531" y="216694"/>
                    <a:pt x="805339" y="224314"/>
                  </a:cubicBezTo>
                  <a:cubicBezTo>
                    <a:pt x="812959" y="248126"/>
                    <a:pt x="814864" y="300514"/>
                    <a:pt x="814864" y="334804"/>
                  </a:cubicBezTo>
                  <a:cubicBezTo>
                    <a:pt x="814864" y="463391"/>
                    <a:pt x="777716" y="520541"/>
                    <a:pt x="742474" y="520541"/>
                  </a:cubicBezTo>
                  <a:cubicBezTo>
                    <a:pt x="701516" y="520541"/>
                    <a:pt x="695801" y="368141"/>
                    <a:pt x="691991" y="309086"/>
                  </a:cubicBezTo>
                  <a:cubicBezTo>
                    <a:pt x="687229" y="307181"/>
                    <a:pt x="681514" y="305276"/>
                    <a:pt x="671989" y="305276"/>
                  </a:cubicBezTo>
                  <a:cubicBezTo>
                    <a:pt x="635794" y="305276"/>
                    <a:pt x="631031" y="354806"/>
                    <a:pt x="621506" y="399574"/>
                  </a:cubicBezTo>
                  <a:cubicBezTo>
                    <a:pt x="611029" y="450056"/>
                    <a:pt x="582454" y="512921"/>
                    <a:pt x="539591" y="512921"/>
                  </a:cubicBezTo>
                  <a:cubicBezTo>
                    <a:pt x="513874" y="512921"/>
                    <a:pt x="497681" y="488156"/>
                    <a:pt x="495776" y="443389"/>
                  </a:cubicBezTo>
                  <a:cubicBezTo>
                    <a:pt x="491966" y="352901"/>
                    <a:pt x="567214" y="245269"/>
                    <a:pt x="685324" y="278606"/>
                  </a:cubicBezTo>
                  <a:cubicBezTo>
                    <a:pt x="700564" y="242411"/>
                    <a:pt x="676751" y="214789"/>
                    <a:pt x="627221" y="214789"/>
                  </a:cubicBezTo>
                  <a:cubicBezTo>
                    <a:pt x="540544" y="214789"/>
                    <a:pt x="469106" y="279559"/>
                    <a:pt x="437674" y="355759"/>
                  </a:cubicBezTo>
                  <a:cubicBezTo>
                    <a:pt x="406241" y="426244"/>
                    <a:pt x="350996" y="529114"/>
                    <a:pt x="237649" y="529114"/>
                  </a:cubicBezTo>
                  <a:cubicBezTo>
                    <a:pt x="157639" y="529114"/>
                    <a:pt x="97631" y="459581"/>
                    <a:pt x="97631" y="313849"/>
                  </a:cubicBezTo>
                  <a:cubicBezTo>
                    <a:pt x="97631" y="188119"/>
                    <a:pt x="176689" y="69056"/>
                    <a:pt x="261461" y="69056"/>
                  </a:cubicBezTo>
                  <a:cubicBezTo>
                    <a:pt x="320516" y="69056"/>
                    <a:pt x="333851" y="127159"/>
                    <a:pt x="329089" y="181451"/>
                  </a:cubicBezTo>
                  <a:cubicBezTo>
                    <a:pt x="359569" y="206216"/>
                    <a:pt x="410051" y="183356"/>
                    <a:pt x="410051" y="121444"/>
                  </a:cubicBezTo>
                  <a:cubicBezTo>
                    <a:pt x="410051" y="79534"/>
                    <a:pt x="375761" y="7144"/>
                    <a:pt x="265271" y="7144"/>
                  </a:cubicBezTo>
                  <a:cubicBezTo>
                    <a:pt x="128111" y="7144"/>
                    <a:pt x="7144" y="144304"/>
                    <a:pt x="7144" y="324326"/>
                  </a:cubicBezTo>
                  <a:cubicBezTo>
                    <a:pt x="7144" y="498634"/>
                    <a:pt x="95726" y="601504"/>
                    <a:pt x="220504" y="601504"/>
                  </a:cubicBezTo>
                  <a:cubicBezTo>
                    <a:pt x="299561" y="601504"/>
                    <a:pt x="373856" y="556736"/>
                    <a:pt x="425291" y="472916"/>
                  </a:cubicBezTo>
                  <a:cubicBezTo>
                    <a:pt x="438626" y="545306"/>
                    <a:pt x="488156" y="576739"/>
                    <a:pt x="525304" y="576739"/>
                  </a:cubicBezTo>
                  <a:cubicBezTo>
                    <a:pt x="585311" y="576739"/>
                    <a:pt x="624364" y="537686"/>
                    <a:pt x="646271" y="485299"/>
                  </a:cubicBezTo>
                  <a:cubicBezTo>
                    <a:pt x="659606" y="537686"/>
                    <a:pt x="688181" y="576739"/>
                    <a:pt x="734854" y="576739"/>
                  </a:cubicBezTo>
                  <a:cubicBezTo>
                    <a:pt x="768191" y="576739"/>
                    <a:pt x="793909" y="559594"/>
                    <a:pt x="812959" y="532924"/>
                  </a:cubicBezTo>
                  <a:cubicBezTo>
                    <a:pt x="805339" y="716756"/>
                    <a:pt x="795814" y="832961"/>
                    <a:pt x="904399" y="810101"/>
                  </a:cubicBezTo>
                  <a:cubicBezTo>
                    <a:pt x="887254" y="757714"/>
                    <a:pt x="882491" y="663416"/>
                    <a:pt x="882491" y="577691"/>
                  </a:cubicBezTo>
                  <a:cubicBezTo>
                    <a:pt x="882491" y="344329"/>
                    <a:pt x="920591" y="267176"/>
                    <a:pt x="969169" y="267176"/>
                  </a:cubicBezTo>
                  <a:cubicBezTo>
                    <a:pt x="1004411" y="267176"/>
                    <a:pt x="1015841" y="311944"/>
                    <a:pt x="1015841" y="359569"/>
                  </a:cubicBezTo>
                  <a:cubicBezTo>
                    <a:pt x="1015841" y="385286"/>
                    <a:pt x="1012984" y="413861"/>
                    <a:pt x="1007269" y="440531"/>
                  </a:cubicBezTo>
                  <a:cubicBezTo>
                    <a:pt x="948214" y="477679"/>
                    <a:pt x="900589" y="507206"/>
                    <a:pt x="900589" y="545306"/>
                  </a:cubicBezTo>
                  <a:cubicBezTo>
                    <a:pt x="900589" y="574834"/>
                    <a:pt x="922496" y="577691"/>
                    <a:pt x="941546" y="577691"/>
                  </a:cubicBezTo>
                  <a:cubicBezTo>
                    <a:pt x="987266" y="577691"/>
                    <a:pt x="1041559" y="532924"/>
                    <a:pt x="1072039" y="449104"/>
                  </a:cubicBezTo>
                  <a:cubicBezTo>
                    <a:pt x="1098709" y="432911"/>
                    <a:pt x="1125379" y="414814"/>
                    <a:pt x="1150144" y="390049"/>
                  </a:cubicBezTo>
                  <a:cubicBezTo>
                    <a:pt x="1149191" y="398621"/>
                    <a:pt x="1149191" y="407194"/>
                    <a:pt x="1149191" y="415766"/>
                  </a:cubicBezTo>
                  <a:cubicBezTo>
                    <a:pt x="1149191" y="499586"/>
                    <a:pt x="1185386" y="550069"/>
                    <a:pt x="1244441" y="550069"/>
                  </a:cubicBezTo>
                  <a:cubicBezTo>
                    <a:pt x="1290161" y="550069"/>
                    <a:pt x="1324451" y="517684"/>
                    <a:pt x="1349216" y="469106"/>
                  </a:cubicBezTo>
                  <a:cubicBezTo>
                    <a:pt x="1351121" y="496729"/>
                    <a:pt x="1352074" y="523399"/>
                    <a:pt x="1352074" y="547211"/>
                  </a:cubicBezTo>
                  <a:cubicBezTo>
                    <a:pt x="1258729" y="590074"/>
                    <a:pt x="1155859" y="633889"/>
                    <a:pt x="1155859" y="754856"/>
                  </a:cubicBezTo>
                  <a:cubicBezTo>
                    <a:pt x="1155859" y="817721"/>
                    <a:pt x="1201579" y="864394"/>
                    <a:pt x="1259681" y="864394"/>
                  </a:cubicBezTo>
                  <a:cubicBezTo>
                    <a:pt x="1389221" y="864394"/>
                    <a:pt x="1418749" y="728186"/>
                    <a:pt x="1419701" y="569119"/>
                  </a:cubicBezTo>
                  <a:cubicBezTo>
                    <a:pt x="1461611" y="551021"/>
                    <a:pt x="1493044" y="536734"/>
                    <a:pt x="1529239" y="518636"/>
                  </a:cubicBezTo>
                  <a:cubicBezTo>
                    <a:pt x="1560671" y="557689"/>
                    <a:pt x="1602581" y="576739"/>
                    <a:pt x="1640681" y="576739"/>
                  </a:cubicBezTo>
                  <a:cubicBezTo>
                    <a:pt x="1714024" y="576739"/>
                    <a:pt x="1768316" y="537686"/>
                    <a:pt x="1813084" y="459581"/>
                  </a:cubicBezTo>
                  <a:cubicBezTo>
                    <a:pt x="1820704" y="519589"/>
                    <a:pt x="1835944" y="576739"/>
                    <a:pt x="1868329" y="576739"/>
                  </a:cubicBezTo>
                  <a:cubicBezTo>
                    <a:pt x="1926431" y="576739"/>
                    <a:pt x="1937861" y="273844"/>
                    <a:pt x="1980724" y="273844"/>
                  </a:cubicBezTo>
                  <a:cubicBezTo>
                    <a:pt x="2014061" y="273844"/>
                    <a:pt x="1986439" y="601504"/>
                    <a:pt x="2074069" y="601504"/>
                  </a:cubicBezTo>
                  <a:cubicBezTo>
                    <a:pt x="2148364" y="601504"/>
                    <a:pt x="2162651" y="312896"/>
                    <a:pt x="2198846" y="312896"/>
                  </a:cubicBezTo>
                  <a:cubicBezTo>
                    <a:pt x="2224564" y="312896"/>
                    <a:pt x="2226469" y="576739"/>
                    <a:pt x="2307432" y="576739"/>
                  </a:cubicBezTo>
                  <a:cubicBezTo>
                    <a:pt x="2347436" y="576739"/>
                    <a:pt x="2390299" y="529114"/>
                    <a:pt x="2412207" y="428149"/>
                  </a:cubicBezTo>
                  <a:cubicBezTo>
                    <a:pt x="2422684" y="494824"/>
                    <a:pt x="2456021" y="576739"/>
                    <a:pt x="2521744" y="576739"/>
                  </a:cubicBezTo>
                  <a:cubicBezTo>
                    <a:pt x="2559844" y="576739"/>
                    <a:pt x="2593182" y="537686"/>
                    <a:pt x="2618899" y="486251"/>
                  </a:cubicBezTo>
                  <a:cubicBezTo>
                    <a:pt x="2625566" y="539591"/>
                    <a:pt x="2640807" y="576739"/>
                    <a:pt x="2670334" y="576739"/>
                  </a:cubicBezTo>
                  <a:cubicBezTo>
                    <a:pt x="2746534" y="576739"/>
                    <a:pt x="2743676" y="274796"/>
                    <a:pt x="2803684" y="274796"/>
                  </a:cubicBezTo>
                  <a:cubicBezTo>
                    <a:pt x="2850357" y="274796"/>
                    <a:pt x="2836069" y="576739"/>
                    <a:pt x="2947511" y="576739"/>
                  </a:cubicBezTo>
                  <a:cubicBezTo>
                    <a:pt x="3000851" y="576739"/>
                    <a:pt x="3025616" y="531971"/>
                    <a:pt x="3040857" y="474821"/>
                  </a:cubicBezTo>
                  <a:cubicBezTo>
                    <a:pt x="3061811" y="558641"/>
                    <a:pt x="3094196" y="576739"/>
                    <a:pt x="3121819" y="576739"/>
                  </a:cubicBezTo>
                  <a:cubicBezTo>
                    <a:pt x="3138964" y="576739"/>
                    <a:pt x="3152299" y="571024"/>
                    <a:pt x="3169444" y="550069"/>
                  </a:cubicBezTo>
                  <a:cubicBezTo>
                    <a:pt x="3085624" y="511969"/>
                    <a:pt x="3092291" y="375761"/>
                    <a:pt x="3092291" y="287179"/>
                  </a:cubicBezTo>
                  <a:close/>
                  <a:moveTo>
                    <a:pt x="1267301" y="806291"/>
                  </a:moveTo>
                  <a:cubicBezTo>
                    <a:pt x="1240631" y="806291"/>
                    <a:pt x="1226344" y="780574"/>
                    <a:pt x="1226344" y="751999"/>
                  </a:cubicBezTo>
                  <a:cubicBezTo>
                    <a:pt x="1226344" y="674846"/>
                    <a:pt x="1283494" y="632936"/>
                    <a:pt x="1353026" y="597694"/>
                  </a:cubicBezTo>
                  <a:cubicBezTo>
                    <a:pt x="1349216" y="768191"/>
                    <a:pt x="1310164" y="806291"/>
                    <a:pt x="1267301" y="806291"/>
                  </a:cubicBezTo>
                  <a:close/>
                  <a:moveTo>
                    <a:pt x="1614964" y="257651"/>
                  </a:moveTo>
                  <a:cubicBezTo>
                    <a:pt x="1640681" y="257651"/>
                    <a:pt x="1655921" y="281464"/>
                    <a:pt x="1653064" y="315754"/>
                  </a:cubicBezTo>
                  <a:cubicBezTo>
                    <a:pt x="1650206" y="355759"/>
                    <a:pt x="1620679" y="402431"/>
                    <a:pt x="1569244" y="438626"/>
                  </a:cubicBezTo>
                  <a:cubicBezTo>
                    <a:pt x="1543526" y="362426"/>
                    <a:pt x="1563529" y="257651"/>
                    <a:pt x="1614964" y="257651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A40793F6-8550-4F9A-98A1-4BD1C63DE3E6}"/>
                </a:ext>
              </a:extLst>
            </p:cNvPr>
            <p:cNvSpPr/>
            <p:nvPr/>
          </p:nvSpPr>
          <p:spPr>
            <a:xfrm>
              <a:off x="10915493" y="643771"/>
              <a:ext cx="54409" cy="59850"/>
            </a:xfrm>
            <a:custGeom>
              <a:avLst/>
              <a:gdLst>
                <a:gd name="connsiteX0" fmla="*/ 51942 w 95250"/>
                <a:gd name="connsiteY0" fmla="*/ 99569 h 104775"/>
                <a:gd name="connsiteX1" fmla="*/ 93853 w 95250"/>
                <a:gd name="connsiteY1" fmla="*/ 51944 h 104775"/>
                <a:gd name="connsiteX2" fmla="*/ 51942 w 95250"/>
                <a:gd name="connsiteY2" fmla="*/ 7176 h 104775"/>
                <a:gd name="connsiteX3" fmla="*/ 7175 w 95250"/>
                <a:gd name="connsiteY3" fmla="*/ 54801 h 104775"/>
                <a:gd name="connsiteX4" fmla="*/ 51942 w 95250"/>
                <a:gd name="connsiteY4" fmla="*/ 99569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104775">
                  <a:moveTo>
                    <a:pt x="51942" y="99569"/>
                  </a:moveTo>
                  <a:cubicBezTo>
                    <a:pt x="76707" y="98616"/>
                    <a:pt x="93853" y="77661"/>
                    <a:pt x="93853" y="51944"/>
                  </a:cubicBezTo>
                  <a:cubicBezTo>
                    <a:pt x="93853" y="26226"/>
                    <a:pt x="76707" y="6224"/>
                    <a:pt x="51942" y="7176"/>
                  </a:cubicBezTo>
                  <a:cubicBezTo>
                    <a:pt x="27178" y="8129"/>
                    <a:pt x="7175" y="29084"/>
                    <a:pt x="7175" y="54801"/>
                  </a:cubicBezTo>
                  <a:cubicBezTo>
                    <a:pt x="6222" y="80519"/>
                    <a:pt x="27178" y="100521"/>
                    <a:pt x="51942" y="99569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AF68DDBF-3EE2-4BFD-9E41-A500A2DB8E18}"/>
                </a:ext>
              </a:extLst>
            </p:cNvPr>
            <p:cNvSpPr/>
            <p:nvPr/>
          </p:nvSpPr>
          <p:spPr>
            <a:xfrm>
              <a:off x="11270254" y="654106"/>
              <a:ext cx="54409" cy="54409"/>
            </a:xfrm>
            <a:custGeom>
              <a:avLst/>
              <a:gdLst>
                <a:gd name="connsiteX0" fmla="*/ 48101 w 95250"/>
                <a:gd name="connsiteY0" fmla="*/ 94808 h 95250"/>
                <a:gd name="connsiteX1" fmla="*/ 89059 w 95250"/>
                <a:gd name="connsiteY1" fmla="*/ 49088 h 95250"/>
                <a:gd name="connsiteX2" fmla="*/ 48101 w 95250"/>
                <a:gd name="connsiteY2" fmla="*/ 7178 h 95250"/>
                <a:gd name="connsiteX3" fmla="*/ 7144 w 95250"/>
                <a:gd name="connsiteY3" fmla="*/ 52898 h 95250"/>
                <a:gd name="connsiteX4" fmla="*/ 48101 w 95250"/>
                <a:gd name="connsiteY4" fmla="*/ 94808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48101" y="94808"/>
                  </a:moveTo>
                  <a:cubicBezTo>
                    <a:pt x="70961" y="93856"/>
                    <a:pt x="89059" y="73853"/>
                    <a:pt x="89059" y="49088"/>
                  </a:cubicBezTo>
                  <a:cubicBezTo>
                    <a:pt x="89059" y="25275"/>
                    <a:pt x="70961" y="6225"/>
                    <a:pt x="48101" y="7178"/>
                  </a:cubicBezTo>
                  <a:cubicBezTo>
                    <a:pt x="25241" y="8131"/>
                    <a:pt x="7144" y="28133"/>
                    <a:pt x="7144" y="52898"/>
                  </a:cubicBezTo>
                  <a:cubicBezTo>
                    <a:pt x="8096" y="76711"/>
                    <a:pt x="26194" y="95761"/>
                    <a:pt x="48101" y="94808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F22E4E1F-DFDD-4EF6-8781-D2EC7D60F89D}"/>
                </a:ext>
              </a:extLst>
            </p:cNvPr>
            <p:cNvSpPr/>
            <p:nvPr/>
          </p:nvSpPr>
          <p:spPr>
            <a:xfrm>
              <a:off x="11384515" y="612775"/>
              <a:ext cx="397182" cy="331893"/>
            </a:xfrm>
            <a:custGeom>
              <a:avLst/>
              <a:gdLst>
                <a:gd name="connsiteX0" fmla="*/ 689134 w 695325"/>
                <a:gd name="connsiteY0" fmla="*/ 368141 h 581025"/>
                <a:gd name="connsiteX1" fmla="*/ 571024 w 695325"/>
                <a:gd name="connsiteY1" fmla="*/ 127159 h 581025"/>
                <a:gd name="connsiteX2" fmla="*/ 388144 w 695325"/>
                <a:gd name="connsiteY2" fmla="*/ 13811 h 581025"/>
                <a:gd name="connsiteX3" fmla="*/ 371951 w 695325"/>
                <a:gd name="connsiteY3" fmla="*/ 7144 h 581025"/>
                <a:gd name="connsiteX4" fmla="*/ 371951 w 695325"/>
                <a:gd name="connsiteY4" fmla="*/ 7144 h 581025"/>
                <a:gd name="connsiteX5" fmla="*/ 371951 w 695325"/>
                <a:gd name="connsiteY5" fmla="*/ 7144 h 581025"/>
                <a:gd name="connsiteX6" fmla="*/ 7144 w 695325"/>
                <a:gd name="connsiteY6" fmla="*/ 383381 h 581025"/>
                <a:gd name="connsiteX7" fmla="*/ 132874 w 695325"/>
                <a:gd name="connsiteY7" fmla="*/ 569119 h 581025"/>
                <a:gd name="connsiteX8" fmla="*/ 262414 w 695325"/>
                <a:gd name="connsiteY8" fmla="*/ 571976 h 581025"/>
                <a:gd name="connsiteX9" fmla="*/ 358616 w 695325"/>
                <a:gd name="connsiteY9" fmla="*/ 506254 h 581025"/>
                <a:gd name="connsiteX10" fmla="*/ 577692 w 695325"/>
                <a:gd name="connsiteY10" fmla="*/ 271939 h 581025"/>
                <a:gd name="connsiteX11" fmla="*/ 690086 w 695325"/>
                <a:gd name="connsiteY11" fmla="*/ 374809 h 581025"/>
                <a:gd name="connsiteX12" fmla="*/ 689134 w 695325"/>
                <a:gd name="connsiteY12" fmla="*/ 368141 h 581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95325" h="581025">
                  <a:moveTo>
                    <a:pt x="689134" y="368141"/>
                  </a:moveTo>
                  <a:cubicBezTo>
                    <a:pt x="687229" y="271939"/>
                    <a:pt x="641509" y="191929"/>
                    <a:pt x="571024" y="127159"/>
                  </a:cubicBezTo>
                  <a:cubicBezTo>
                    <a:pt x="517684" y="78581"/>
                    <a:pt x="453866" y="41434"/>
                    <a:pt x="388144" y="13811"/>
                  </a:cubicBezTo>
                  <a:cubicBezTo>
                    <a:pt x="382429" y="11906"/>
                    <a:pt x="377666" y="9049"/>
                    <a:pt x="371951" y="7144"/>
                  </a:cubicBezTo>
                  <a:lnTo>
                    <a:pt x="371951" y="7144"/>
                  </a:lnTo>
                  <a:cubicBezTo>
                    <a:pt x="371951" y="7144"/>
                    <a:pt x="371951" y="7144"/>
                    <a:pt x="371951" y="7144"/>
                  </a:cubicBezTo>
                  <a:cubicBezTo>
                    <a:pt x="290036" y="105251"/>
                    <a:pt x="7144" y="178594"/>
                    <a:pt x="7144" y="383381"/>
                  </a:cubicBezTo>
                  <a:cubicBezTo>
                    <a:pt x="7144" y="463391"/>
                    <a:pt x="57626" y="538639"/>
                    <a:pt x="132874" y="569119"/>
                  </a:cubicBezTo>
                  <a:cubicBezTo>
                    <a:pt x="175736" y="585311"/>
                    <a:pt x="219551" y="586264"/>
                    <a:pt x="262414" y="571976"/>
                  </a:cubicBezTo>
                  <a:cubicBezTo>
                    <a:pt x="300514" y="559594"/>
                    <a:pt x="332899" y="535781"/>
                    <a:pt x="358616" y="506254"/>
                  </a:cubicBezTo>
                  <a:cubicBezTo>
                    <a:pt x="441484" y="413861"/>
                    <a:pt x="475774" y="271939"/>
                    <a:pt x="577692" y="271939"/>
                  </a:cubicBezTo>
                  <a:cubicBezTo>
                    <a:pt x="671036" y="271939"/>
                    <a:pt x="683419" y="338614"/>
                    <a:pt x="690086" y="374809"/>
                  </a:cubicBezTo>
                  <a:cubicBezTo>
                    <a:pt x="689134" y="373856"/>
                    <a:pt x="689134" y="371951"/>
                    <a:pt x="689134" y="368141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2920925312"/>
      </p:ext>
    </p:extLst>
  </p:cSld>
  <p:clrMapOvr>
    <a:masterClrMapping/>
  </p:clrMapOvr>
  <p:hf hdr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ark grey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5371179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20" name="Picture Placeholder 47">
            <a:extLst>
              <a:ext uri="{FF2B5EF4-FFF2-40B4-BE49-F238E27FC236}">
                <a16:creationId xmlns:a16="http://schemas.microsoft.com/office/drawing/2014/main" id="{51CA337D-4B25-44C1-847A-AC0D74277B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1192909"/>
            <a:ext cx="5591944" cy="5260428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pt-PT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3E908611-FBB7-4987-BE0F-F09EAF1FFC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600059" y="1192909"/>
            <a:ext cx="5007742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306025B9-0362-4974-8920-7C764289CBA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00059" y="1865049"/>
            <a:ext cx="5007742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text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257644F2-F28D-4087-B791-1E7F26C4AD1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00059" y="2537189"/>
            <a:ext cx="5007742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25F62A33-F672-4099-9B72-9B2267F22AC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00059" y="3209329"/>
            <a:ext cx="5007742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72FF6EE1-C46D-4DEB-A508-49B5101CF2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600059" y="3881469"/>
            <a:ext cx="5007742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931D06D9-EA9B-42A0-81EE-D669D6CA5F3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600059" y="4553609"/>
            <a:ext cx="5007742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EFEA829A-6217-4965-B7BD-6BC37F7849A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600059" y="5225749"/>
            <a:ext cx="5007742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E05DDB93-91CA-4BAF-9D63-E4134B435D8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600059" y="5897889"/>
            <a:ext cx="5007742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108920680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Only Titl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2">
            <a:extLst>
              <a:ext uri="{FF2B5EF4-FFF2-40B4-BE49-F238E27FC236}">
                <a16:creationId xmlns:a16="http://schemas.microsoft.com/office/drawing/2014/main" id="{8DAF735F-0213-66FF-5F71-F311158059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813" y="393071"/>
            <a:ext cx="10947772" cy="607883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750940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404813" y="1327150"/>
            <a:ext cx="11379200" cy="4576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subtitle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71054D7-80F5-442C-9F9E-FCC6CF14C5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1493640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1"/>
          <a:ext cx="195384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95384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465001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dark grey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E6BB52B-0C5D-4023-89D5-282E9A5202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814" y="0"/>
            <a:ext cx="10947772" cy="7167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0850DA69-657E-41C3-B340-B16C354CA1D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92907" y="953294"/>
            <a:ext cx="11406187" cy="49514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accent5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27">
            <a:extLst>
              <a:ext uri="{FF2B5EF4-FFF2-40B4-BE49-F238E27FC236}">
                <a16:creationId xmlns:a16="http://schemas.microsoft.com/office/drawing/2014/main" id="{23AF9E85-9F70-7015-EA4B-75B5F63B0F11}"/>
              </a:ext>
            </a:extLst>
          </p:cNvPr>
          <p:cNvSpPr/>
          <p:nvPr userDrawn="1"/>
        </p:nvSpPr>
        <p:spPr>
          <a:xfrm>
            <a:off x="7227069" y="6517871"/>
            <a:ext cx="4532163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700">
                <a:solidFill>
                  <a:srgbClr val="A6A6A6"/>
                </a:solidFill>
                <a:latin typeface="Ubuntu" panose="020B0504030602030204" pitchFamily="34" charset="0"/>
                <a:cs typeface="Arial" panose="020B0604020202020204" pitchFamily="34" charset="0"/>
              </a:rPr>
              <a:t>Company Confidential © Capgemini 2023. All rights reserved  |</a:t>
            </a:r>
          </a:p>
        </p:txBody>
      </p:sp>
    </p:spTree>
    <p:extLst>
      <p:ext uri="{BB962C8B-B14F-4D97-AF65-F5344CB8AC3E}">
        <p14:creationId xmlns:p14="http://schemas.microsoft.com/office/powerpoint/2010/main" val="41022037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dark grey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0850DA69-657E-41C3-B340-B16C354CA1D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3" y="643467"/>
            <a:ext cx="9220819" cy="575574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accent5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27">
            <a:extLst>
              <a:ext uri="{FF2B5EF4-FFF2-40B4-BE49-F238E27FC236}">
                <a16:creationId xmlns:a16="http://schemas.microsoft.com/office/drawing/2014/main" id="{1DBEE776-25D2-ABE2-A7FF-1D28FC2B6828}"/>
              </a:ext>
            </a:extLst>
          </p:cNvPr>
          <p:cNvSpPr/>
          <p:nvPr userDrawn="1"/>
        </p:nvSpPr>
        <p:spPr>
          <a:xfrm>
            <a:off x="7219980" y="6528503"/>
            <a:ext cx="4532163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700">
                <a:solidFill>
                  <a:srgbClr val="A6A6A6"/>
                </a:solidFill>
                <a:latin typeface="Ubuntu" panose="020B0504030602030204" pitchFamily="34" charset="0"/>
                <a:cs typeface="Arial" panose="020B0604020202020204" pitchFamily="34" charset="0"/>
              </a:rPr>
              <a:t>Company Confidential © Capgemini 2023. All rights reserved  |</a:t>
            </a:r>
          </a:p>
        </p:txBody>
      </p:sp>
    </p:spTree>
    <p:extLst>
      <p:ext uri="{BB962C8B-B14F-4D97-AF65-F5344CB8AC3E}">
        <p14:creationId xmlns:p14="http://schemas.microsoft.com/office/powerpoint/2010/main" val="7417075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" y="1"/>
          <a:ext cx="180998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180998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420078" y="1330325"/>
            <a:ext cx="11351846" cy="4937125"/>
          </a:xfrm>
        </p:spPr>
        <p:txBody>
          <a:bodyPr/>
          <a:lstStyle>
            <a:lvl1pPr>
              <a:defRPr b="0">
                <a:solidFill>
                  <a:schemeClr val="tx2"/>
                </a:solidFill>
              </a:defRPr>
            </a:lvl1pPr>
            <a:lvl2pPr marL="457200" indent="-228600">
              <a:defRPr>
                <a:solidFill>
                  <a:schemeClr val="tx2"/>
                </a:solidFill>
              </a:defRPr>
            </a:lvl2pPr>
            <a:lvl3pPr marL="685800" indent="-228600"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grpSp>
        <p:nvGrpSpPr>
          <p:cNvPr id="5" name="Groupe 1">
            <a:extLst>
              <a:ext uri="{FF2B5EF4-FFF2-40B4-BE49-F238E27FC236}">
                <a16:creationId xmlns:a16="http://schemas.microsoft.com/office/drawing/2014/main" id="{5A7FBC66-8A48-488B-82C5-05CC68904BFD}"/>
              </a:ext>
            </a:extLst>
          </p:cNvPr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6" name="Freeform 13">
              <a:extLst>
                <a:ext uri="{FF2B5EF4-FFF2-40B4-BE49-F238E27FC236}">
                  <a16:creationId xmlns:a16="http://schemas.microsoft.com/office/drawing/2014/main" id="{498DB53E-C60B-4C19-98C3-C7A54179FA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Freeform 14">
              <a:extLst>
                <a:ext uri="{FF2B5EF4-FFF2-40B4-BE49-F238E27FC236}">
                  <a16:creationId xmlns:a16="http://schemas.microsoft.com/office/drawing/2014/main" id="{4831D1AC-B0A1-461E-A708-D6DD84639C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6861108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 3 Full Pictur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person&#10;&#10;Description automatically generated">
            <a:extLst>
              <a:ext uri="{FF2B5EF4-FFF2-40B4-BE49-F238E27FC236}">
                <a16:creationId xmlns:a16="http://schemas.microsoft.com/office/drawing/2014/main" id="{11163736-B15D-E592-F8A6-85A2B0AFC9C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8BE84EF3-D086-4872-B447-29CA255B022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826803" y="101843"/>
            <a:ext cx="2267015" cy="509587"/>
            <a:chOff x="9550400" y="612775"/>
            <a:chExt cx="2231297" cy="501650"/>
          </a:xfrm>
        </p:grpSpPr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0246E8D9-37F5-42CB-BC0C-F3B7051C922C}"/>
                </a:ext>
              </a:extLst>
            </p:cNvPr>
            <p:cNvSpPr/>
            <p:nvPr/>
          </p:nvSpPr>
          <p:spPr>
            <a:xfrm>
              <a:off x="11517270" y="764033"/>
              <a:ext cx="261161" cy="212194"/>
            </a:xfrm>
            <a:custGeom>
              <a:avLst/>
              <a:gdLst>
                <a:gd name="connsiteX0" fmla="*/ 304324 w 457200"/>
                <a:gd name="connsiteY0" fmla="*/ 261461 h 371475"/>
                <a:gd name="connsiteX1" fmla="*/ 456724 w 457200"/>
                <a:gd name="connsiteY1" fmla="*/ 110014 h 371475"/>
                <a:gd name="connsiteX2" fmla="*/ 344329 w 457200"/>
                <a:gd name="connsiteY2" fmla="*/ 7144 h 371475"/>
                <a:gd name="connsiteX3" fmla="*/ 125254 w 457200"/>
                <a:gd name="connsiteY3" fmla="*/ 241459 h 371475"/>
                <a:gd name="connsiteX4" fmla="*/ 7144 w 457200"/>
                <a:gd name="connsiteY4" fmla="*/ 348139 h 371475"/>
                <a:gd name="connsiteX5" fmla="*/ 96679 w 457200"/>
                <a:gd name="connsiteY5" fmla="*/ 372904 h 371475"/>
                <a:gd name="connsiteX6" fmla="*/ 306229 w 457200"/>
                <a:gd name="connsiteY6" fmla="*/ 304324 h 371475"/>
                <a:gd name="connsiteX7" fmla="*/ 200501 w 457200"/>
                <a:gd name="connsiteY7" fmla="*/ 210026 h 371475"/>
                <a:gd name="connsiteX8" fmla="*/ 304324 w 457200"/>
                <a:gd name="connsiteY8" fmla="*/ 261461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57200" h="371475">
                  <a:moveTo>
                    <a:pt x="304324" y="261461"/>
                  </a:moveTo>
                  <a:cubicBezTo>
                    <a:pt x="390049" y="261461"/>
                    <a:pt x="455771" y="191929"/>
                    <a:pt x="456724" y="110014"/>
                  </a:cubicBezTo>
                  <a:cubicBezTo>
                    <a:pt x="451009" y="73819"/>
                    <a:pt x="438626" y="7144"/>
                    <a:pt x="344329" y="7144"/>
                  </a:cubicBezTo>
                  <a:cubicBezTo>
                    <a:pt x="242411" y="7144"/>
                    <a:pt x="208121" y="150019"/>
                    <a:pt x="125254" y="241459"/>
                  </a:cubicBezTo>
                  <a:cubicBezTo>
                    <a:pt x="118586" y="293846"/>
                    <a:pt x="69056" y="340519"/>
                    <a:pt x="7144" y="348139"/>
                  </a:cubicBezTo>
                  <a:cubicBezTo>
                    <a:pt x="22384" y="364331"/>
                    <a:pt x="55721" y="372904"/>
                    <a:pt x="96679" y="372904"/>
                  </a:cubicBezTo>
                  <a:cubicBezTo>
                    <a:pt x="170021" y="372904"/>
                    <a:pt x="259556" y="350996"/>
                    <a:pt x="306229" y="304324"/>
                  </a:cubicBezTo>
                  <a:cubicBezTo>
                    <a:pt x="244316" y="305276"/>
                    <a:pt x="204311" y="265271"/>
                    <a:pt x="200501" y="210026"/>
                  </a:cubicBezTo>
                  <a:cubicBezTo>
                    <a:pt x="230029" y="247174"/>
                    <a:pt x="264319" y="261461"/>
                    <a:pt x="304324" y="261461"/>
                  </a:cubicBezTo>
                  <a:close/>
                </a:path>
              </a:pathLst>
            </a:custGeom>
            <a:solidFill>
              <a:srgbClr val="17ABDB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 sz="1400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F6EA2E0C-1F08-4C5C-BD23-AEAC2902BE3F}"/>
                </a:ext>
              </a:extLst>
            </p:cNvPr>
            <p:cNvSpPr/>
            <p:nvPr/>
          </p:nvSpPr>
          <p:spPr>
            <a:xfrm>
              <a:off x="9550400" y="619305"/>
              <a:ext cx="1811806" cy="495120"/>
            </a:xfrm>
            <a:custGeom>
              <a:avLst/>
              <a:gdLst>
                <a:gd name="connsiteX0" fmla="*/ 3092291 w 3171825"/>
                <a:gd name="connsiteY0" fmla="*/ 287179 h 866775"/>
                <a:gd name="connsiteX1" fmla="*/ 3059907 w 3171825"/>
                <a:gd name="connsiteY1" fmla="*/ 211931 h 866775"/>
                <a:gd name="connsiteX2" fmla="*/ 3027521 w 3171825"/>
                <a:gd name="connsiteY2" fmla="*/ 218599 h 866775"/>
                <a:gd name="connsiteX3" fmla="*/ 2960846 w 3171825"/>
                <a:gd name="connsiteY3" fmla="*/ 507206 h 866775"/>
                <a:gd name="connsiteX4" fmla="*/ 2816066 w 3171825"/>
                <a:gd name="connsiteY4" fmla="*/ 178594 h 866775"/>
                <a:gd name="connsiteX5" fmla="*/ 2679859 w 3171825"/>
                <a:gd name="connsiteY5" fmla="*/ 440531 h 866775"/>
                <a:gd name="connsiteX6" fmla="*/ 2670334 w 3171825"/>
                <a:gd name="connsiteY6" fmla="*/ 319564 h 866775"/>
                <a:gd name="connsiteX7" fmla="*/ 2677001 w 3171825"/>
                <a:gd name="connsiteY7" fmla="*/ 254794 h 866775"/>
                <a:gd name="connsiteX8" fmla="*/ 2611279 w 3171825"/>
                <a:gd name="connsiteY8" fmla="*/ 209074 h 866775"/>
                <a:gd name="connsiteX9" fmla="*/ 2533174 w 3171825"/>
                <a:gd name="connsiteY9" fmla="*/ 510064 h 866775"/>
                <a:gd name="connsiteX10" fmla="*/ 2470309 w 3171825"/>
                <a:gd name="connsiteY10" fmla="*/ 292894 h 866775"/>
                <a:gd name="connsiteX11" fmla="*/ 2405539 w 3171825"/>
                <a:gd name="connsiteY11" fmla="*/ 208121 h 866775"/>
                <a:gd name="connsiteX12" fmla="*/ 2325529 w 3171825"/>
                <a:gd name="connsiteY12" fmla="*/ 494824 h 866775"/>
                <a:gd name="connsiteX13" fmla="*/ 2206466 w 3171825"/>
                <a:gd name="connsiteY13" fmla="*/ 211931 h 866775"/>
                <a:gd name="connsiteX14" fmla="*/ 2087404 w 3171825"/>
                <a:gd name="connsiteY14" fmla="*/ 479584 h 866775"/>
                <a:gd name="connsiteX15" fmla="*/ 1983581 w 3171825"/>
                <a:gd name="connsiteY15" fmla="*/ 178594 h 866775"/>
                <a:gd name="connsiteX16" fmla="*/ 1877854 w 3171825"/>
                <a:gd name="connsiteY16" fmla="*/ 391954 h 866775"/>
                <a:gd name="connsiteX17" fmla="*/ 1867376 w 3171825"/>
                <a:gd name="connsiteY17" fmla="*/ 390049 h 866775"/>
                <a:gd name="connsiteX18" fmla="*/ 1866424 w 3171825"/>
                <a:gd name="connsiteY18" fmla="*/ 327184 h 866775"/>
                <a:gd name="connsiteX19" fmla="*/ 1807369 w 3171825"/>
                <a:gd name="connsiteY19" fmla="*/ 202406 h 866775"/>
                <a:gd name="connsiteX20" fmla="*/ 1654969 w 3171825"/>
                <a:gd name="connsiteY20" fmla="*/ 512921 h 866775"/>
                <a:gd name="connsiteX21" fmla="*/ 1592104 w 3171825"/>
                <a:gd name="connsiteY21" fmla="*/ 483394 h 866775"/>
                <a:gd name="connsiteX22" fmla="*/ 1719739 w 3171825"/>
                <a:gd name="connsiteY22" fmla="*/ 306229 h 866775"/>
                <a:gd name="connsiteX23" fmla="*/ 1619726 w 3171825"/>
                <a:gd name="connsiteY23" fmla="*/ 202406 h 866775"/>
                <a:gd name="connsiteX24" fmla="*/ 1483519 w 3171825"/>
                <a:gd name="connsiteY24" fmla="*/ 369094 h 866775"/>
                <a:gd name="connsiteX25" fmla="*/ 1503521 w 3171825"/>
                <a:gd name="connsiteY25" fmla="*/ 473869 h 866775"/>
                <a:gd name="connsiteX26" fmla="*/ 1418749 w 3171825"/>
                <a:gd name="connsiteY26" fmla="*/ 512921 h 866775"/>
                <a:gd name="connsiteX27" fmla="*/ 1400651 w 3171825"/>
                <a:gd name="connsiteY27" fmla="*/ 274796 h 866775"/>
                <a:gd name="connsiteX28" fmla="*/ 1336834 w 3171825"/>
                <a:gd name="connsiteY28" fmla="*/ 326231 h 866775"/>
                <a:gd name="connsiteX29" fmla="*/ 1262539 w 3171825"/>
                <a:gd name="connsiteY29" fmla="*/ 479584 h 866775"/>
                <a:gd name="connsiteX30" fmla="*/ 1223486 w 3171825"/>
                <a:gd name="connsiteY30" fmla="*/ 421481 h 866775"/>
                <a:gd name="connsiteX31" fmla="*/ 1402556 w 3171825"/>
                <a:gd name="connsiteY31" fmla="*/ 250031 h 866775"/>
                <a:gd name="connsiteX32" fmla="*/ 1343501 w 3171825"/>
                <a:gd name="connsiteY32" fmla="*/ 192881 h 866775"/>
                <a:gd name="connsiteX33" fmla="*/ 1181576 w 3171825"/>
                <a:gd name="connsiteY33" fmla="*/ 290989 h 866775"/>
                <a:gd name="connsiteX34" fmla="*/ 1086326 w 3171825"/>
                <a:gd name="connsiteY34" fmla="*/ 385286 h 866775"/>
                <a:gd name="connsiteX35" fmla="*/ 1088231 w 3171825"/>
                <a:gd name="connsiteY35" fmla="*/ 358616 h 866775"/>
                <a:gd name="connsiteX36" fmla="*/ 974884 w 3171825"/>
                <a:gd name="connsiteY36" fmla="*/ 204311 h 866775"/>
                <a:gd name="connsiteX37" fmla="*/ 883444 w 3171825"/>
                <a:gd name="connsiteY37" fmla="*/ 273844 h 866775"/>
                <a:gd name="connsiteX38" fmla="*/ 846296 w 3171825"/>
                <a:gd name="connsiteY38" fmla="*/ 213836 h 866775"/>
                <a:gd name="connsiteX39" fmla="*/ 805339 w 3171825"/>
                <a:gd name="connsiteY39" fmla="*/ 224314 h 866775"/>
                <a:gd name="connsiteX40" fmla="*/ 814864 w 3171825"/>
                <a:gd name="connsiteY40" fmla="*/ 334804 h 866775"/>
                <a:gd name="connsiteX41" fmla="*/ 742474 w 3171825"/>
                <a:gd name="connsiteY41" fmla="*/ 520541 h 866775"/>
                <a:gd name="connsiteX42" fmla="*/ 691991 w 3171825"/>
                <a:gd name="connsiteY42" fmla="*/ 309086 h 866775"/>
                <a:gd name="connsiteX43" fmla="*/ 671989 w 3171825"/>
                <a:gd name="connsiteY43" fmla="*/ 305276 h 866775"/>
                <a:gd name="connsiteX44" fmla="*/ 621506 w 3171825"/>
                <a:gd name="connsiteY44" fmla="*/ 399574 h 866775"/>
                <a:gd name="connsiteX45" fmla="*/ 539591 w 3171825"/>
                <a:gd name="connsiteY45" fmla="*/ 512921 h 866775"/>
                <a:gd name="connsiteX46" fmla="*/ 495776 w 3171825"/>
                <a:gd name="connsiteY46" fmla="*/ 443389 h 866775"/>
                <a:gd name="connsiteX47" fmla="*/ 685324 w 3171825"/>
                <a:gd name="connsiteY47" fmla="*/ 278606 h 866775"/>
                <a:gd name="connsiteX48" fmla="*/ 627221 w 3171825"/>
                <a:gd name="connsiteY48" fmla="*/ 214789 h 866775"/>
                <a:gd name="connsiteX49" fmla="*/ 437674 w 3171825"/>
                <a:gd name="connsiteY49" fmla="*/ 355759 h 866775"/>
                <a:gd name="connsiteX50" fmla="*/ 237649 w 3171825"/>
                <a:gd name="connsiteY50" fmla="*/ 529114 h 866775"/>
                <a:gd name="connsiteX51" fmla="*/ 97631 w 3171825"/>
                <a:gd name="connsiteY51" fmla="*/ 313849 h 866775"/>
                <a:gd name="connsiteX52" fmla="*/ 261461 w 3171825"/>
                <a:gd name="connsiteY52" fmla="*/ 69056 h 866775"/>
                <a:gd name="connsiteX53" fmla="*/ 329089 w 3171825"/>
                <a:gd name="connsiteY53" fmla="*/ 181451 h 866775"/>
                <a:gd name="connsiteX54" fmla="*/ 410051 w 3171825"/>
                <a:gd name="connsiteY54" fmla="*/ 121444 h 866775"/>
                <a:gd name="connsiteX55" fmla="*/ 265271 w 3171825"/>
                <a:gd name="connsiteY55" fmla="*/ 7144 h 866775"/>
                <a:gd name="connsiteX56" fmla="*/ 7144 w 3171825"/>
                <a:gd name="connsiteY56" fmla="*/ 324326 h 866775"/>
                <a:gd name="connsiteX57" fmla="*/ 220504 w 3171825"/>
                <a:gd name="connsiteY57" fmla="*/ 601504 h 866775"/>
                <a:gd name="connsiteX58" fmla="*/ 425291 w 3171825"/>
                <a:gd name="connsiteY58" fmla="*/ 472916 h 866775"/>
                <a:gd name="connsiteX59" fmla="*/ 525304 w 3171825"/>
                <a:gd name="connsiteY59" fmla="*/ 576739 h 866775"/>
                <a:gd name="connsiteX60" fmla="*/ 646271 w 3171825"/>
                <a:gd name="connsiteY60" fmla="*/ 485299 h 866775"/>
                <a:gd name="connsiteX61" fmla="*/ 734854 w 3171825"/>
                <a:gd name="connsiteY61" fmla="*/ 576739 h 866775"/>
                <a:gd name="connsiteX62" fmla="*/ 812959 w 3171825"/>
                <a:gd name="connsiteY62" fmla="*/ 532924 h 866775"/>
                <a:gd name="connsiteX63" fmla="*/ 904399 w 3171825"/>
                <a:gd name="connsiteY63" fmla="*/ 810101 h 866775"/>
                <a:gd name="connsiteX64" fmla="*/ 882491 w 3171825"/>
                <a:gd name="connsiteY64" fmla="*/ 577691 h 866775"/>
                <a:gd name="connsiteX65" fmla="*/ 969169 w 3171825"/>
                <a:gd name="connsiteY65" fmla="*/ 267176 h 866775"/>
                <a:gd name="connsiteX66" fmla="*/ 1015841 w 3171825"/>
                <a:gd name="connsiteY66" fmla="*/ 359569 h 866775"/>
                <a:gd name="connsiteX67" fmla="*/ 1007269 w 3171825"/>
                <a:gd name="connsiteY67" fmla="*/ 440531 h 866775"/>
                <a:gd name="connsiteX68" fmla="*/ 900589 w 3171825"/>
                <a:gd name="connsiteY68" fmla="*/ 545306 h 866775"/>
                <a:gd name="connsiteX69" fmla="*/ 941546 w 3171825"/>
                <a:gd name="connsiteY69" fmla="*/ 577691 h 866775"/>
                <a:gd name="connsiteX70" fmla="*/ 1072039 w 3171825"/>
                <a:gd name="connsiteY70" fmla="*/ 449104 h 866775"/>
                <a:gd name="connsiteX71" fmla="*/ 1150144 w 3171825"/>
                <a:gd name="connsiteY71" fmla="*/ 390049 h 866775"/>
                <a:gd name="connsiteX72" fmla="*/ 1149191 w 3171825"/>
                <a:gd name="connsiteY72" fmla="*/ 415766 h 866775"/>
                <a:gd name="connsiteX73" fmla="*/ 1244441 w 3171825"/>
                <a:gd name="connsiteY73" fmla="*/ 550069 h 866775"/>
                <a:gd name="connsiteX74" fmla="*/ 1349216 w 3171825"/>
                <a:gd name="connsiteY74" fmla="*/ 469106 h 866775"/>
                <a:gd name="connsiteX75" fmla="*/ 1352074 w 3171825"/>
                <a:gd name="connsiteY75" fmla="*/ 547211 h 866775"/>
                <a:gd name="connsiteX76" fmla="*/ 1155859 w 3171825"/>
                <a:gd name="connsiteY76" fmla="*/ 754856 h 866775"/>
                <a:gd name="connsiteX77" fmla="*/ 1259681 w 3171825"/>
                <a:gd name="connsiteY77" fmla="*/ 864394 h 866775"/>
                <a:gd name="connsiteX78" fmla="*/ 1419701 w 3171825"/>
                <a:gd name="connsiteY78" fmla="*/ 569119 h 866775"/>
                <a:gd name="connsiteX79" fmla="*/ 1529239 w 3171825"/>
                <a:gd name="connsiteY79" fmla="*/ 518636 h 866775"/>
                <a:gd name="connsiteX80" fmla="*/ 1640681 w 3171825"/>
                <a:gd name="connsiteY80" fmla="*/ 576739 h 866775"/>
                <a:gd name="connsiteX81" fmla="*/ 1813084 w 3171825"/>
                <a:gd name="connsiteY81" fmla="*/ 459581 h 866775"/>
                <a:gd name="connsiteX82" fmla="*/ 1868329 w 3171825"/>
                <a:gd name="connsiteY82" fmla="*/ 576739 h 866775"/>
                <a:gd name="connsiteX83" fmla="*/ 1980724 w 3171825"/>
                <a:gd name="connsiteY83" fmla="*/ 273844 h 866775"/>
                <a:gd name="connsiteX84" fmla="*/ 2074069 w 3171825"/>
                <a:gd name="connsiteY84" fmla="*/ 601504 h 866775"/>
                <a:gd name="connsiteX85" fmla="*/ 2198846 w 3171825"/>
                <a:gd name="connsiteY85" fmla="*/ 312896 h 866775"/>
                <a:gd name="connsiteX86" fmla="*/ 2307432 w 3171825"/>
                <a:gd name="connsiteY86" fmla="*/ 576739 h 866775"/>
                <a:gd name="connsiteX87" fmla="*/ 2412207 w 3171825"/>
                <a:gd name="connsiteY87" fmla="*/ 428149 h 866775"/>
                <a:gd name="connsiteX88" fmla="*/ 2521744 w 3171825"/>
                <a:gd name="connsiteY88" fmla="*/ 576739 h 866775"/>
                <a:gd name="connsiteX89" fmla="*/ 2618899 w 3171825"/>
                <a:gd name="connsiteY89" fmla="*/ 486251 h 866775"/>
                <a:gd name="connsiteX90" fmla="*/ 2670334 w 3171825"/>
                <a:gd name="connsiteY90" fmla="*/ 576739 h 866775"/>
                <a:gd name="connsiteX91" fmla="*/ 2803684 w 3171825"/>
                <a:gd name="connsiteY91" fmla="*/ 274796 h 866775"/>
                <a:gd name="connsiteX92" fmla="*/ 2947511 w 3171825"/>
                <a:gd name="connsiteY92" fmla="*/ 576739 h 866775"/>
                <a:gd name="connsiteX93" fmla="*/ 3040857 w 3171825"/>
                <a:gd name="connsiteY93" fmla="*/ 474821 h 866775"/>
                <a:gd name="connsiteX94" fmla="*/ 3121819 w 3171825"/>
                <a:gd name="connsiteY94" fmla="*/ 576739 h 866775"/>
                <a:gd name="connsiteX95" fmla="*/ 3169444 w 3171825"/>
                <a:gd name="connsiteY95" fmla="*/ 550069 h 866775"/>
                <a:gd name="connsiteX96" fmla="*/ 3092291 w 3171825"/>
                <a:gd name="connsiteY96" fmla="*/ 287179 h 866775"/>
                <a:gd name="connsiteX97" fmla="*/ 1267301 w 3171825"/>
                <a:gd name="connsiteY97" fmla="*/ 806291 h 866775"/>
                <a:gd name="connsiteX98" fmla="*/ 1226344 w 3171825"/>
                <a:gd name="connsiteY98" fmla="*/ 751999 h 866775"/>
                <a:gd name="connsiteX99" fmla="*/ 1353026 w 3171825"/>
                <a:gd name="connsiteY99" fmla="*/ 597694 h 866775"/>
                <a:gd name="connsiteX100" fmla="*/ 1267301 w 3171825"/>
                <a:gd name="connsiteY100" fmla="*/ 806291 h 866775"/>
                <a:gd name="connsiteX101" fmla="*/ 1614964 w 3171825"/>
                <a:gd name="connsiteY101" fmla="*/ 257651 h 866775"/>
                <a:gd name="connsiteX102" fmla="*/ 1653064 w 3171825"/>
                <a:gd name="connsiteY102" fmla="*/ 315754 h 866775"/>
                <a:gd name="connsiteX103" fmla="*/ 1569244 w 3171825"/>
                <a:gd name="connsiteY103" fmla="*/ 438626 h 866775"/>
                <a:gd name="connsiteX104" fmla="*/ 1614964 w 3171825"/>
                <a:gd name="connsiteY104" fmla="*/ 257651 h 866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3171825" h="866775">
                  <a:moveTo>
                    <a:pt x="3092291" y="287179"/>
                  </a:moveTo>
                  <a:cubicBezTo>
                    <a:pt x="3092291" y="241459"/>
                    <a:pt x="3089434" y="211931"/>
                    <a:pt x="3059907" y="211931"/>
                  </a:cubicBezTo>
                  <a:cubicBezTo>
                    <a:pt x="3046571" y="211931"/>
                    <a:pt x="3039904" y="214789"/>
                    <a:pt x="3027521" y="218599"/>
                  </a:cubicBezTo>
                  <a:cubicBezTo>
                    <a:pt x="3037999" y="371951"/>
                    <a:pt x="3003709" y="507206"/>
                    <a:pt x="2960846" y="507206"/>
                  </a:cubicBezTo>
                  <a:cubicBezTo>
                    <a:pt x="2905601" y="507206"/>
                    <a:pt x="2933224" y="178594"/>
                    <a:pt x="2816066" y="178594"/>
                  </a:cubicBezTo>
                  <a:cubicBezTo>
                    <a:pt x="2707482" y="178594"/>
                    <a:pt x="2692241" y="440531"/>
                    <a:pt x="2679859" y="440531"/>
                  </a:cubicBezTo>
                  <a:cubicBezTo>
                    <a:pt x="2671286" y="440531"/>
                    <a:pt x="2670334" y="371951"/>
                    <a:pt x="2670334" y="319564"/>
                  </a:cubicBezTo>
                  <a:cubicBezTo>
                    <a:pt x="2675096" y="294799"/>
                    <a:pt x="2677001" y="271939"/>
                    <a:pt x="2677001" y="254794"/>
                  </a:cubicBezTo>
                  <a:cubicBezTo>
                    <a:pt x="2677001" y="230029"/>
                    <a:pt x="2667476" y="188119"/>
                    <a:pt x="2611279" y="209074"/>
                  </a:cubicBezTo>
                  <a:cubicBezTo>
                    <a:pt x="2613184" y="396716"/>
                    <a:pt x="2576036" y="510064"/>
                    <a:pt x="2533174" y="510064"/>
                  </a:cubicBezTo>
                  <a:cubicBezTo>
                    <a:pt x="2471261" y="510064"/>
                    <a:pt x="2470309" y="340519"/>
                    <a:pt x="2470309" y="292894"/>
                  </a:cubicBezTo>
                  <a:cubicBezTo>
                    <a:pt x="2470309" y="247174"/>
                    <a:pt x="2473166" y="186214"/>
                    <a:pt x="2405539" y="208121"/>
                  </a:cubicBezTo>
                  <a:cubicBezTo>
                    <a:pt x="2395061" y="371951"/>
                    <a:pt x="2352199" y="494824"/>
                    <a:pt x="2325529" y="494824"/>
                  </a:cubicBezTo>
                  <a:cubicBezTo>
                    <a:pt x="2285524" y="494824"/>
                    <a:pt x="2293144" y="211931"/>
                    <a:pt x="2206466" y="211931"/>
                  </a:cubicBezTo>
                  <a:cubicBezTo>
                    <a:pt x="2128361" y="211931"/>
                    <a:pt x="2103596" y="479584"/>
                    <a:pt x="2087404" y="479584"/>
                  </a:cubicBezTo>
                  <a:cubicBezTo>
                    <a:pt x="2057876" y="479584"/>
                    <a:pt x="2096929" y="178594"/>
                    <a:pt x="1983581" y="178594"/>
                  </a:cubicBezTo>
                  <a:cubicBezTo>
                    <a:pt x="1924526" y="178594"/>
                    <a:pt x="1900714" y="279559"/>
                    <a:pt x="1877854" y="391954"/>
                  </a:cubicBezTo>
                  <a:cubicBezTo>
                    <a:pt x="1873091" y="413861"/>
                    <a:pt x="1868329" y="414814"/>
                    <a:pt x="1867376" y="390049"/>
                  </a:cubicBezTo>
                  <a:cubicBezTo>
                    <a:pt x="1866424" y="370046"/>
                    <a:pt x="1866424" y="347186"/>
                    <a:pt x="1866424" y="327184"/>
                  </a:cubicBezTo>
                  <a:cubicBezTo>
                    <a:pt x="1894999" y="213836"/>
                    <a:pt x="1859756" y="171926"/>
                    <a:pt x="1807369" y="202406"/>
                  </a:cubicBezTo>
                  <a:cubicBezTo>
                    <a:pt x="1824514" y="411004"/>
                    <a:pt x="1728311" y="512921"/>
                    <a:pt x="1654969" y="512921"/>
                  </a:cubicBezTo>
                  <a:cubicBezTo>
                    <a:pt x="1628299" y="512921"/>
                    <a:pt x="1607344" y="501491"/>
                    <a:pt x="1592104" y="483394"/>
                  </a:cubicBezTo>
                  <a:cubicBezTo>
                    <a:pt x="1680686" y="429101"/>
                    <a:pt x="1719739" y="367189"/>
                    <a:pt x="1719739" y="306229"/>
                  </a:cubicBezTo>
                  <a:cubicBezTo>
                    <a:pt x="1719739" y="240506"/>
                    <a:pt x="1681639" y="202406"/>
                    <a:pt x="1619726" y="202406"/>
                  </a:cubicBezTo>
                  <a:cubicBezTo>
                    <a:pt x="1532096" y="202406"/>
                    <a:pt x="1483519" y="292894"/>
                    <a:pt x="1483519" y="369094"/>
                  </a:cubicBezTo>
                  <a:cubicBezTo>
                    <a:pt x="1483519" y="410051"/>
                    <a:pt x="1491139" y="445294"/>
                    <a:pt x="1503521" y="473869"/>
                  </a:cubicBezTo>
                  <a:cubicBezTo>
                    <a:pt x="1473041" y="488156"/>
                    <a:pt x="1445419" y="500539"/>
                    <a:pt x="1418749" y="512921"/>
                  </a:cubicBezTo>
                  <a:cubicBezTo>
                    <a:pt x="1416844" y="433864"/>
                    <a:pt x="1407319" y="350996"/>
                    <a:pt x="1400651" y="274796"/>
                  </a:cubicBezTo>
                  <a:cubicBezTo>
                    <a:pt x="1353979" y="262414"/>
                    <a:pt x="1340644" y="284321"/>
                    <a:pt x="1336834" y="326231"/>
                  </a:cubicBezTo>
                  <a:cubicBezTo>
                    <a:pt x="1328261" y="420529"/>
                    <a:pt x="1293971" y="479584"/>
                    <a:pt x="1262539" y="479584"/>
                  </a:cubicBezTo>
                  <a:cubicBezTo>
                    <a:pt x="1239679" y="479584"/>
                    <a:pt x="1225391" y="451009"/>
                    <a:pt x="1223486" y="421481"/>
                  </a:cubicBezTo>
                  <a:cubicBezTo>
                    <a:pt x="1214914" y="270034"/>
                    <a:pt x="1337786" y="228124"/>
                    <a:pt x="1402556" y="250031"/>
                  </a:cubicBezTo>
                  <a:cubicBezTo>
                    <a:pt x="1415891" y="216694"/>
                    <a:pt x="1401604" y="192881"/>
                    <a:pt x="1343501" y="192881"/>
                  </a:cubicBezTo>
                  <a:cubicBezTo>
                    <a:pt x="1273016" y="192881"/>
                    <a:pt x="1220629" y="235744"/>
                    <a:pt x="1181576" y="290989"/>
                  </a:cubicBezTo>
                  <a:cubicBezTo>
                    <a:pt x="1155859" y="327184"/>
                    <a:pt x="1126331" y="353854"/>
                    <a:pt x="1086326" y="385286"/>
                  </a:cubicBezTo>
                  <a:cubicBezTo>
                    <a:pt x="1087279" y="375761"/>
                    <a:pt x="1088231" y="367189"/>
                    <a:pt x="1088231" y="358616"/>
                  </a:cubicBezTo>
                  <a:cubicBezTo>
                    <a:pt x="1088231" y="251936"/>
                    <a:pt x="1030129" y="204311"/>
                    <a:pt x="974884" y="204311"/>
                  </a:cubicBezTo>
                  <a:cubicBezTo>
                    <a:pt x="929164" y="204311"/>
                    <a:pt x="900589" y="231934"/>
                    <a:pt x="883444" y="273844"/>
                  </a:cubicBezTo>
                  <a:cubicBezTo>
                    <a:pt x="879634" y="231934"/>
                    <a:pt x="871061" y="213836"/>
                    <a:pt x="846296" y="213836"/>
                  </a:cubicBezTo>
                  <a:cubicBezTo>
                    <a:pt x="835819" y="213836"/>
                    <a:pt x="821531" y="216694"/>
                    <a:pt x="805339" y="224314"/>
                  </a:cubicBezTo>
                  <a:cubicBezTo>
                    <a:pt x="812959" y="248126"/>
                    <a:pt x="814864" y="300514"/>
                    <a:pt x="814864" y="334804"/>
                  </a:cubicBezTo>
                  <a:cubicBezTo>
                    <a:pt x="814864" y="463391"/>
                    <a:pt x="777716" y="520541"/>
                    <a:pt x="742474" y="520541"/>
                  </a:cubicBezTo>
                  <a:cubicBezTo>
                    <a:pt x="701516" y="520541"/>
                    <a:pt x="695801" y="368141"/>
                    <a:pt x="691991" y="309086"/>
                  </a:cubicBezTo>
                  <a:cubicBezTo>
                    <a:pt x="687229" y="307181"/>
                    <a:pt x="681514" y="305276"/>
                    <a:pt x="671989" y="305276"/>
                  </a:cubicBezTo>
                  <a:cubicBezTo>
                    <a:pt x="635794" y="305276"/>
                    <a:pt x="631031" y="354806"/>
                    <a:pt x="621506" y="399574"/>
                  </a:cubicBezTo>
                  <a:cubicBezTo>
                    <a:pt x="611029" y="450056"/>
                    <a:pt x="582454" y="512921"/>
                    <a:pt x="539591" y="512921"/>
                  </a:cubicBezTo>
                  <a:cubicBezTo>
                    <a:pt x="513874" y="512921"/>
                    <a:pt x="497681" y="488156"/>
                    <a:pt x="495776" y="443389"/>
                  </a:cubicBezTo>
                  <a:cubicBezTo>
                    <a:pt x="491966" y="352901"/>
                    <a:pt x="567214" y="245269"/>
                    <a:pt x="685324" y="278606"/>
                  </a:cubicBezTo>
                  <a:cubicBezTo>
                    <a:pt x="700564" y="242411"/>
                    <a:pt x="676751" y="214789"/>
                    <a:pt x="627221" y="214789"/>
                  </a:cubicBezTo>
                  <a:cubicBezTo>
                    <a:pt x="540544" y="214789"/>
                    <a:pt x="469106" y="279559"/>
                    <a:pt x="437674" y="355759"/>
                  </a:cubicBezTo>
                  <a:cubicBezTo>
                    <a:pt x="406241" y="426244"/>
                    <a:pt x="350996" y="529114"/>
                    <a:pt x="237649" y="529114"/>
                  </a:cubicBezTo>
                  <a:cubicBezTo>
                    <a:pt x="157639" y="529114"/>
                    <a:pt x="97631" y="459581"/>
                    <a:pt x="97631" y="313849"/>
                  </a:cubicBezTo>
                  <a:cubicBezTo>
                    <a:pt x="97631" y="188119"/>
                    <a:pt x="176689" y="69056"/>
                    <a:pt x="261461" y="69056"/>
                  </a:cubicBezTo>
                  <a:cubicBezTo>
                    <a:pt x="320516" y="69056"/>
                    <a:pt x="333851" y="127159"/>
                    <a:pt x="329089" y="181451"/>
                  </a:cubicBezTo>
                  <a:cubicBezTo>
                    <a:pt x="359569" y="206216"/>
                    <a:pt x="410051" y="183356"/>
                    <a:pt x="410051" y="121444"/>
                  </a:cubicBezTo>
                  <a:cubicBezTo>
                    <a:pt x="410051" y="79534"/>
                    <a:pt x="375761" y="7144"/>
                    <a:pt x="265271" y="7144"/>
                  </a:cubicBezTo>
                  <a:cubicBezTo>
                    <a:pt x="128111" y="7144"/>
                    <a:pt x="7144" y="144304"/>
                    <a:pt x="7144" y="324326"/>
                  </a:cubicBezTo>
                  <a:cubicBezTo>
                    <a:pt x="7144" y="498634"/>
                    <a:pt x="95726" y="601504"/>
                    <a:pt x="220504" y="601504"/>
                  </a:cubicBezTo>
                  <a:cubicBezTo>
                    <a:pt x="299561" y="601504"/>
                    <a:pt x="373856" y="556736"/>
                    <a:pt x="425291" y="472916"/>
                  </a:cubicBezTo>
                  <a:cubicBezTo>
                    <a:pt x="438626" y="545306"/>
                    <a:pt x="488156" y="576739"/>
                    <a:pt x="525304" y="576739"/>
                  </a:cubicBezTo>
                  <a:cubicBezTo>
                    <a:pt x="585311" y="576739"/>
                    <a:pt x="624364" y="537686"/>
                    <a:pt x="646271" y="485299"/>
                  </a:cubicBezTo>
                  <a:cubicBezTo>
                    <a:pt x="659606" y="537686"/>
                    <a:pt x="688181" y="576739"/>
                    <a:pt x="734854" y="576739"/>
                  </a:cubicBezTo>
                  <a:cubicBezTo>
                    <a:pt x="768191" y="576739"/>
                    <a:pt x="793909" y="559594"/>
                    <a:pt x="812959" y="532924"/>
                  </a:cubicBezTo>
                  <a:cubicBezTo>
                    <a:pt x="805339" y="716756"/>
                    <a:pt x="795814" y="832961"/>
                    <a:pt x="904399" y="810101"/>
                  </a:cubicBezTo>
                  <a:cubicBezTo>
                    <a:pt x="887254" y="757714"/>
                    <a:pt x="882491" y="663416"/>
                    <a:pt x="882491" y="577691"/>
                  </a:cubicBezTo>
                  <a:cubicBezTo>
                    <a:pt x="882491" y="344329"/>
                    <a:pt x="920591" y="267176"/>
                    <a:pt x="969169" y="267176"/>
                  </a:cubicBezTo>
                  <a:cubicBezTo>
                    <a:pt x="1004411" y="267176"/>
                    <a:pt x="1015841" y="311944"/>
                    <a:pt x="1015841" y="359569"/>
                  </a:cubicBezTo>
                  <a:cubicBezTo>
                    <a:pt x="1015841" y="385286"/>
                    <a:pt x="1012984" y="413861"/>
                    <a:pt x="1007269" y="440531"/>
                  </a:cubicBezTo>
                  <a:cubicBezTo>
                    <a:pt x="948214" y="477679"/>
                    <a:pt x="900589" y="507206"/>
                    <a:pt x="900589" y="545306"/>
                  </a:cubicBezTo>
                  <a:cubicBezTo>
                    <a:pt x="900589" y="574834"/>
                    <a:pt x="922496" y="577691"/>
                    <a:pt x="941546" y="577691"/>
                  </a:cubicBezTo>
                  <a:cubicBezTo>
                    <a:pt x="987266" y="577691"/>
                    <a:pt x="1041559" y="532924"/>
                    <a:pt x="1072039" y="449104"/>
                  </a:cubicBezTo>
                  <a:cubicBezTo>
                    <a:pt x="1098709" y="432911"/>
                    <a:pt x="1125379" y="414814"/>
                    <a:pt x="1150144" y="390049"/>
                  </a:cubicBezTo>
                  <a:cubicBezTo>
                    <a:pt x="1149191" y="398621"/>
                    <a:pt x="1149191" y="407194"/>
                    <a:pt x="1149191" y="415766"/>
                  </a:cubicBezTo>
                  <a:cubicBezTo>
                    <a:pt x="1149191" y="499586"/>
                    <a:pt x="1185386" y="550069"/>
                    <a:pt x="1244441" y="550069"/>
                  </a:cubicBezTo>
                  <a:cubicBezTo>
                    <a:pt x="1290161" y="550069"/>
                    <a:pt x="1324451" y="517684"/>
                    <a:pt x="1349216" y="469106"/>
                  </a:cubicBezTo>
                  <a:cubicBezTo>
                    <a:pt x="1351121" y="496729"/>
                    <a:pt x="1352074" y="523399"/>
                    <a:pt x="1352074" y="547211"/>
                  </a:cubicBezTo>
                  <a:cubicBezTo>
                    <a:pt x="1258729" y="590074"/>
                    <a:pt x="1155859" y="633889"/>
                    <a:pt x="1155859" y="754856"/>
                  </a:cubicBezTo>
                  <a:cubicBezTo>
                    <a:pt x="1155859" y="817721"/>
                    <a:pt x="1201579" y="864394"/>
                    <a:pt x="1259681" y="864394"/>
                  </a:cubicBezTo>
                  <a:cubicBezTo>
                    <a:pt x="1389221" y="864394"/>
                    <a:pt x="1418749" y="728186"/>
                    <a:pt x="1419701" y="569119"/>
                  </a:cubicBezTo>
                  <a:cubicBezTo>
                    <a:pt x="1461611" y="551021"/>
                    <a:pt x="1493044" y="536734"/>
                    <a:pt x="1529239" y="518636"/>
                  </a:cubicBezTo>
                  <a:cubicBezTo>
                    <a:pt x="1560671" y="557689"/>
                    <a:pt x="1602581" y="576739"/>
                    <a:pt x="1640681" y="576739"/>
                  </a:cubicBezTo>
                  <a:cubicBezTo>
                    <a:pt x="1714024" y="576739"/>
                    <a:pt x="1768316" y="537686"/>
                    <a:pt x="1813084" y="459581"/>
                  </a:cubicBezTo>
                  <a:cubicBezTo>
                    <a:pt x="1820704" y="519589"/>
                    <a:pt x="1835944" y="576739"/>
                    <a:pt x="1868329" y="576739"/>
                  </a:cubicBezTo>
                  <a:cubicBezTo>
                    <a:pt x="1926431" y="576739"/>
                    <a:pt x="1937861" y="273844"/>
                    <a:pt x="1980724" y="273844"/>
                  </a:cubicBezTo>
                  <a:cubicBezTo>
                    <a:pt x="2014061" y="273844"/>
                    <a:pt x="1986439" y="601504"/>
                    <a:pt x="2074069" y="601504"/>
                  </a:cubicBezTo>
                  <a:cubicBezTo>
                    <a:pt x="2148364" y="601504"/>
                    <a:pt x="2162651" y="312896"/>
                    <a:pt x="2198846" y="312896"/>
                  </a:cubicBezTo>
                  <a:cubicBezTo>
                    <a:pt x="2224564" y="312896"/>
                    <a:pt x="2226469" y="576739"/>
                    <a:pt x="2307432" y="576739"/>
                  </a:cubicBezTo>
                  <a:cubicBezTo>
                    <a:pt x="2347436" y="576739"/>
                    <a:pt x="2390299" y="529114"/>
                    <a:pt x="2412207" y="428149"/>
                  </a:cubicBezTo>
                  <a:cubicBezTo>
                    <a:pt x="2422684" y="494824"/>
                    <a:pt x="2456021" y="576739"/>
                    <a:pt x="2521744" y="576739"/>
                  </a:cubicBezTo>
                  <a:cubicBezTo>
                    <a:pt x="2559844" y="576739"/>
                    <a:pt x="2593182" y="537686"/>
                    <a:pt x="2618899" y="486251"/>
                  </a:cubicBezTo>
                  <a:cubicBezTo>
                    <a:pt x="2625566" y="539591"/>
                    <a:pt x="2640807" y="576739"/>
                    <a:pt x="2670334" y="576739"/>
                  </a:cubicBezTo>
                  <a:cubicBezTo>
                    <a:pt x="2746534" y="576739"/>
                    <a:pt x="2743676" y="274796"/>
                    <a:pt x="2803684" y="274796"/>
                  </a:cubicBezTo>
                  <a:cubicBezTo>
                    <a:pt x="2850357" y="274796"/>
                    <a:pt x="2836069" y="576739"/>
                    <a:pt x="2947511" y="576739"/>
                  </a:cubicBezTo>
                  <a:cubicBezTo>
                    <a:pt x="3000851" y="576739"/>
                    <a:pt x="3025616" y="531971"/>
                    <a:pt x="3040857" y="474821"/>
                  </a:cubicBezTo>
                  <a:cubicBezTo>
                    <a:pt x="3061811" y="558641"/>
                    <a:pt x="3094196" y="576739"/>
                    <a:pt x="3121819" y="576739"/>
                  </a:cubicBezTo>
                  <a:cubicBezTo>
                    <a:pt x="3138964" y="576739"/>
                    <a:pt x="3152299" y="571024"/>
                    <a:pt x="3169444" y="550069"/>
                  </a:cubicBezTo>
                  <a:cubicBezTo>
                    <a:pt x="3085624" y="511969"/>
                    <a:pt x="3092291" y="375761"/>
                    <a:pt x="3092291" y="287179"/>
                  </a:cubicBezTo>
                  <a:close/>
                  <a:moveTo>
                    <a:pt x="1267301" y="806291"/>
                  </a:moveTo>
                  <a:cubicBezTo>
                    <a:pt x="1240631" y="806291"/>
                    <a:pt x="1226344" y="780574"/>
                    <a:pt x="1226344" y="751999"/>
                  </a:cubicBezTo>
                  <a:cubicBezTo>
                    <a:pt x="1226344" y="674846"/>
                    <a:pt x="1283494" y="632936"/>
                    <a:pt x="1353026" y="597694"/>
                  </a:cubicBezTo>
                  <a:cubicBezTo>
                    <a:pt x="1349216" y="768191"/>
                    <a:pt x="1310164" y="806291"/>
                    <a:pt x="1267301" y="806291"/>
                  </a:cubicBezTo>
                  <a:close/>
                  <a:moveTo>
                    <a:pt x="1614964" y="257651"/>
                  </a:moveTo>
                  <a:cubicBezTo>
                    <a:pt x="1640681" y="257651"/>
                    <a:pt x="1655921" y="281464"/>
                    <a:pt x="1653064" y="315754"/>
                  </a:cubicBezTo>
                  <a:cubicBezTo>
                    <a:pt x="1650206" y="355759"/>
                    <a:pt x="1620679" y="402431"/>
                    <a:pt x="1569244" y="438626"/>
                  </a:cubicBezTo>
                  <a:cubicBezTo>
                    <a:pt x="1543526" y="362426"/>
                    <a:pt x="1563529" y="257651"/>
                    <a:pt x="1614964" y="257651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 sz="1400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8BD59524-FC2F-4010-84DA-993F7FDF8E39}"/>
                </a:ext>
              </a:extLst>
            </p:cNvPr>
            <p:cNvSpPr/>
            <p:nvPr/>
          </p:nvSpPr>
          <p:spPr>
            <a:xfrm>
              <a:off x="10915493" y="643771"/>
              <a:ext cx="54409" cy="59850"/>
            </a:xfrm>
            <a:custGeom>
              <a:avLst/>
              <a:gdLst>
                <a:gd name="connsiteX0" fmla="*/ 51942 w 95250"/>
                <a:gd name="connsiteY0" fmla="*/ 99569 h 104775"/>
                <a:gd name="connsiteX1" fmla="*/ 93853 w 95250"/>
                <a:gd name="connsiteY1" fmla="*/ 51944 h 104775"/>
                <a:gd name="connsiteX2" fmla="*/ 51942 w 95250"/>
                <a:gd name="connsiteY2" fmla="*/ 7176 h 104775"/>
                <a:gd name="connsiteX3" fmla="*/ 7175 w 95250"/>
                <a:gd name="connsiteY3" fmla="*/ 54801 h 104775"/>
                <a:gd name="connsiteX4" fmla="*/ 51942 w 95250"/>
                <a:gd name="connsiteY4" fmla="*/ 99569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104775">
                  <a:moveTo>
                    <a:pt x="51942" y="99569"/>
                  </a:moveTo>
                  <a:cubicBezTo>
                    <a:pt x="76707" y="98616"/>
                    <a:pt x="93853" y="77661"/>
                    <a:pt x="93853" y="51944"/>
                  </a:cubicBezTo>
                  <a:cubicBezTo>
                    <a:pt x="93853" y="26226"/>
                    <a:pt x="76707" y="6224"/>
                    <a:pt x="51942" y="7176"/>
                  </a:cubicBezTo>
                  <a:cubicBezTo>
                    <a:pt x="27178" y="8129"/>
                    <a:pt x="7175" y="29084"/>
                    <a:pt x="7175" y="54801"/>
                  </a:cubicBezTo>
                  <a:cubicBezTo>
                    <a:pt x="6222" y="80519"/>
                    <a:pt x="27178" y="100521"/>
                    <a:pt x="51942" y="99569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 sz="1400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1C87D9DE-F14A-4987-BCDE-FFB5E928DDE8}"/>
                </a:ext>
              </a:extLst>
            </p:cNvPr>
            <p:cNvSpPr/>
            <p:nvPr/>
          </p:nvSpPr>
          <p:spPr>
            <a:xfrm>
              <a:off x="11270254" y="654106"/>
              <a:ext cx="54409" cy="54409"/>
            </a:xfrm>
            <a:custGeom>
              <a:avLst/>
              <a:gdLst>
                <a:gd name="connsiteX0" fmla="*/ 48101 w 95250"/>
                <a:gd name="connsiteY0" fmla="*/ 94808 h 95250"/>
                <a:gd name="connsiteX1" fmla="*/ 89059 w 95250"/>
                <a:gd name="connsiteY1" fmla="*/ 49088 h 95250"/>
                <a:gd name="connsiteX2" fmla="*/ 48101 w 95250"/>
                <a:gd name="connsiteY2" fmla="*/ 7178 h 95250"/>
                <a:gd name="connsiteX3" fmla="*/ 7144 w 95250"/>
                <a:gd name="connsiteY3" fmla="*/ 52898 h 95250"/>
                <a:gd name="connsiteX4" fmla="*/ 48101 w 95250"/>
                <a:gd name="connsiteY4" fmla="*/ 94808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48101" y="94808"/>
                  </a:moveTo>
                  <a:cubicBezTo>
                    <a:pt x="70961" y="93856"/>
                    <a:pt x="89059" y="73853"/>
                    <a:pt x="89059" y="49088"/>
                  </a:cubicBezTo>
                  <a:cubicBezTo>
                    <a:pt x="89059" y="25275"/>
                    <a:pt x="70961" y="6225"/>
                    <a:pt x="48101" y="7178"/>
                  </a:cubicBezTo>
                  <a:cubicBezTo>
                    <a:pt x="25241" y="8131"/>
                    <a:pt x="7144" y="28133"/>
                    <a:pt x="7144" y="52898"/>
                  </a:cubicBezTo>
                  <a:cubicBezTo>
                    <a:pt x="8096" y="76711"/>
                    <a:pt x="26194" y="95761"/>
                    <a:pt x="48101" y="94808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 sz="140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FE592DFD-D940-4FE8-AF9E-A589F49579FF}"/>
                </a:ext>
              </a:extLst>
            </p:cNvPr>
            <p:cNvSpPr/>
            <p:nvPr/>
          </p:nvSpPr>
          <p:spPr>
            <a:xfrm>
              <a:off x="11384515" y="612775"/>
              <a:ext cx="397182" cy="331893"/>
            </a:xfrm>
            <a:custGeom>
              <a:avLst/>
              <a:gdLst>
                <a:gd name="connsiteX0" fmla="*/ 689134 w 695325"/>
                <a:gd name="connsiteY0" fmla="*/ 368141 h 581025"/>
                <a:gd name="connsiteX1" fmla="*/ 571024 w 695325"/>
                <a:gd name="connsiteY1" fmla="*/ 127159 h 581025"/>
                <a:gd name="connsiteX2" fmla="*/ 388144 w 695325"/>
                <a:gd name="connsiteY2" fmla="*/ 13811 h 581025"/>
                <a:gd name="connsiteX3" fmla="*/ 371951 w 695325"/>
                <a:gd name="connsiteY3" fmla="*/ 7144 h 581025"/>
                <a:gd name="connsiteX4" fmla="*/ 371951 w 695325"/>
                <a:gd name="connsiteY4" fmla="*/ 7144 h 581025"/>
                <a:gd name="connsiteX5" fmla="*/ 371951 w 695325"/>
                <a:gd name="connsiteY5" fmla="*/ 7144 h 581025"/>
                <a:gd name="connsiteX6" fmla="*/ 7144 w 695325"/>
                <a:gd name="connsiteY6" fmla="*/ 383381 h 581025"/>
                <a:gd name="connsiteX7" fmla="*/ 132874 w 695325"/>
                <a:gd name="connsiteY7" fmla="*/ 569119 h 581025"/>
                <a:gd name="connsiteX8" fmla="*/ 262414 w 695325"/>
                <a:gd name="connsiteY8" fmla="*/ 571976 h 581025"/>
                <a:gd name="connsiteX9" fmla="*/ 358616 w 695325"/>
                <a:gd name="connsiteY9" fmla="*/ 506254 h 581025"/>
                <a:gd name="connsiteX10" fmla="*/ 577692 w 695325"/>
                <a:gd name="connsiteY10" fmla="*/ 271939 h 581025"/>
                <a:gd name="connsiteX11" fmla="*/ 690086 w 695325"/>
                <a:gd name="connsiteY11" fmla="*/ 374809 h 581025"/>
                <a:gd name="connsiteX12" fmla="*/ 689134 w 695325"/>
                <a:gd name="connsiteY12" fmla="*/ 368141 h 581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95325" h="581025">
                  <a:moveTo>
                    <a:pt x="689134" y="368141"/>
                  </a:moveTo>
                  <a:cubicBezTo>
                    <a:pt x="687229" y="271939"/>
                    <a:pt x="641509" y="191929"/>
                    <a:pt x="571024" y="127159"/>
                  </a:cubicBezTo>
                  <a:cubicBezTo>
                    <a:pt x="517684" y="78581"/>
                    <a:pt x="453866" y="41434"/>
                    <a:pt x="388144" y="13811"/>
                  </a:cubicBezTo>
                  <a:cubicBezTo>
                    <a:pt x="382429" y="11906"/>
                    <a:pt x="377666" y="9049"/>
                    <a:pt x="371951" y="7144"/>
                  </a:cubicBezTo>
                  <a:lnTo>
                    <a:pt x="371951" y="7144"/>
                  </a:lnTo>
                  <a:cubicBezTo>
                    <a:pt x="371951" y="7144"/>
                    <a:pt x="371951" y="7144"/>
                    <a:pt x="371951" y="7144"/>
                  </a:cubicBezTo>
                  <a:cubicBezTo>
                    <a:pt x="290036" y="105251"/>
                    <a:pt x="7144" y="178594"/>
                    <a:pt x="7144" y="383381"/>
                  </a:cubicBezTo>
                  <a:cubicBezTo>
                    <a:pt x="7144" y="463391"/>
                    <a:pt x="57626" y="538639"/>
                    <a:pt x="132874" y="569119"/>
                  </a:cubicBezTo>
                  <a:cubicBezTo>
                    <a:pt x="175736" y="585311"/>
                    <a:pt x="219551" y="586264"/>
                    <a:pt x="262414" y="571976"/>
                  </a:cubicBezTo>
                  <a:cubicBezTo>
                    <a:pt x="300514" y="559594"/>
                    <a:pt x="332899" y="535781"/>
                    <a:pt x="358616" y="506254"/>
                  </a:cubicBezTo>
                  <a:cubicBezTo>
                    <a:pt x="441484" y="413861"/>
                    <a:pt x="475774" y="271939"/>
                    <a:pt x="577692" y="271939"/>
                  </a:cubicBezTo>
                  <a:cubicBezTo>
                    <a:pt x="671036" y="271939"/>
                    <a:pt x="683419" y="338614"/>
                    <a:pt x="690086" y="374809"/>
                  </a:cubicBezTo>
                  <a:cubicBezTo>
                    <a:pt x="689134" y="373856"/>
                    <a:pt x="689134" y="371951"/>
                    <a:pt x="689134" y="368141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 sz="1400"/>
            </a:p>
          </p:txBody>
        </p:sp>
      </p:grpSp>
    </p:spTree>
    <p:extLst>
      <p:ext uri="{BB962C8B-B14F-4D97-AF65-F5344CB8AC3E}">
        <p14:creationId xmlns:p14="http://schemas.microsoft.com/office/powerpoint/2010/main" val="35649941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A5A39C93-A915-45D6-953A-AAC473CA2FE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04813" y="2339007"/>
            <a:ext cx="11386134" cy="2031325"/>
          </a:xfrm>
        </p:spPr>
        <p:txBody>
          <a:bodyPr wrap="square" lIns="36000" rIns="36000" bIns="0" anchor="b" anchorCtr="0">
            <a:spAutoFit/>
          </a:bodyPr>
          <a:lstStyle>
            <a:lvl1pPr algn="l">
              <a:lnSpc>
                <a:spcPct val="100000"/>
              </a:lnSpc>
              <a:defRPr sz="6600" b="1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81D5C5CA-E0F9-4194-9FD7-26150AB2A87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04813" y="4419600"/>
            <a:ext cx="11379200" cy="307777"/>
          </a:xfrm>
        </p:spPr>
        <p:txBody>
          <a:bodyPr wrap="square" lIns="36000" tIns="0" rIns="36000">
            <a:sp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3352964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Final Slide 2">
    <p:bg>
      <p:bgPr>
        <a:solidFill>
          <a:srgbClr val="27293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Image 15">
            <a:extLst>
              <a:ext uri="{FF2B5EF4-FFF2-40B4-BE49-F238E27FC236}">
                <a16:creationId xmlns:a16="http://schemas.microsoft.com/office/drawing/2014/main" id="{0489A022-D524-4B27-A5EC-7E24500CC9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214" y="1295400"/>
            <a:ext cx="9702386" cy="6043284"/>
          </a:xfrm>
          <a:prstGeom prst="rect">
            <a:avLst/>
          </a:prstGeom>
        </p:spPr>
      </p:pic>
      <p:pic>
        <p:nvPicPr>
          <p:cNvPr id="22" name="Picture 7" descr="facebook">
            <a:hlinkClick r:id="rId3"/>
            <a:extLst>
              <a:ext uri="{FF2B5EF4-FFF2-40B4-BE49-F238E27FC236}">
                <a16:creationId xmlns:a16="http://schemas.microsoft.com/office/drawing/2014/main" id="{BCC76D32-C587-45AA-A26C-ED5B038C86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26720" y="5328053"/>
            <a:ext cx="333195" cy="333195"/>
          </a:xfrm>
          <a:prstGeom prst="rect">
            <a:avLst/>
          </a:prstGeom>
          <a:noFill/>
        </p:spPr>
      </p:pic>
      <p:pic>
        <p:nvPicPr>
          <p:cNvPr id="17" name="Picture 2" descr="LinkedIn">
            <a:hlinkClick r:id="rId5"/>
            <a:extLst>
              <a:ext uri="{FF2B5EF4-FFF2-40B4-BE49-F238E27FC236}">
                <a16:creationId xmlns:a16="http://schemas.microsoft.com/office/drawing/2014/main" id="{F6DF1D6E-8462-43E1-AFC5-8A5C855024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10097" y="5328053"/>
            <a:ext cx="333195" cy="333195"/>
          </a:xfrm>
          <a:prstGeom prst="rect">
            <a:avLst/>
          </a:prstGeom>
          <a:noFill/>
        </p:spPr>
      </p:pic>
      <p:pic>
        <p:nvPicPr>
          <p:cNvPr id="19" name="Picture 4" descr="SlideShare">
            <a:hlinkClick r:id="rId7"/>
            <a:extLst>
              <a:ext uri="{FF2B5EF4-FFF2-40B4-BE49-F238E27FC236}">
                <a16:creationId xmlns:a16="http://schemas.microsoft.com/office/drawing/2014/main" id="{DA74C6D2-FFE3-4CE8-B52D-0A33097AEE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193474" y="5328053"/>
            <a:ext cx="333195" cy="333195"/>
          </a:xfrm>
          <a:prstGeom prst="rect">
            <a:avLst/>
          </a:prstGeom>
          <a:noFill/>
        </p:spPr>
      </p:pic>
      <p:pic>
        <p:nvPicPr>
          <p:cNvPr id="20" name="Picture 5" descr="Twitter">
            <a:hlinkClick r:id="rId9"/>
            <a:extLst>
              <a:ext uri="{FF2B5EF4-FFF2-40B4-BE49-F238E27FC236}">
                <a16:creationId xmlns:a16="http://schemas.microsoft.com/office/drawing/2014/main" id="{14E10122-92A2-4535-9737-8C1BE0EE0A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576851" y="5328053"/>
            <a:ext cx="333195" cy="333195"/>
          </a:xfrm>
          <a:prstGeom prst="rect">
            <a:avLst/>
          </a:prstGeom>
          <a:noFill/>
        </p:spPr>
      </p:pic>
      <p:pic>
        <p:nvPicPr>
          <p:cNvPr id="21" name="Picture 6" descr="YouTube">
            <a:hlinkClick r:id="rId11"/>
            <a:extLst>
              <a:ext uri="{FF2B5EF4-FFF2-40B4-BE49-F238E27FC236}">
                <a16:creationId xmlns:a16="http://schemas.microsoft.com/office/drawing/2014/main" id="{BA6EF96A-02CA-41A1-9095-358FE74866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1960227" y="5328053"/>
            <a:ext cx="333195" cy="333195"/>
          </a:xfrm>
          <a:prstGeom prst="rect">
            <a:avLst/>
          </a:prstGeom>
          <a:noFill/>
        </p:spPr>
      </p:pic>
      <p:sp>
        <p:nvSpPr>
          <p:cNvPr id="57" name="Rectangle 56"/>
          <p:cNvSpPr/>
          <p:nvPr/>
        </p:nvSpPr>
        <p:spPr>
          <a:xfrm>
            <a:off x="426720" y="5840235"/>
            <a:ext cx="3221008" cy="40011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lvl="0">
              <a:spcAft>
                <a:spcPts val="600"/>
              </a:spcAft>
            </a:pPr>
            <a:r>
              <a:rPr lang="en-US" sz="700" noProof="0">
                <a:solidFill>
                  <a:schemeClr val="bg1"/>
                </a:solidFill>
                <a:latin typeface="Ubuntu" panose="020B0504030602030204" pitchFamily="34" charset="0"/>
                <a:cs typeface="Arial"/>
              </a:rPr>
              <a:t>This presentation contains information that may be privileged or confidential and is the property of the Capgemini Group.</a:t>
            </a:r>
          </a:p>
          <a:p>
            <a:pPr lvl="0">
              <a:spcAft>
                <a:spcPts val="600"/>
              </a:spcAft>
            </a:pPr>
            <a:r>
              <a:rPr lang="en-US" sz="700" noProof="0">
                <a:solidFill>
                  <a:schemeClr val="bg1"/>
                </a:solidFill>
                <a:latin typeface="Ubuntu" panose="020B0504030602030204" pitchFamily="34" charset="0"/>
                <a:cs typeface="Arial"/>
              </a:rPr>
              <a:t>Copyright © 2023 Capgemini. All rights reserved.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665BE2A4-4ACC-4E54-9A85-77DFC7F65F01}"/>
              </a:ext>
            </a:extLst>
          </p:cNvPr>
          <p:cNvGrpSpPr>
            <a:grpSpLocks noChangeAspect="1"/>
          </p:cNvGrpSpPr>
          <p:nvPr/>
        </p:nvGrpSpPr>
        <p:grpSpPr>
          <a:xfrm>
            <a:off x="9161718" y="5747778"/>
            <a:ext cx="2231297" cy="501650"/>
            <a:chOff x="9550400" y="612775"/>
            <a:chExt cx="2231297" cy="501650"/>
          </a:xfrm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0CE61B69-C06F-4D0A-9437-BC399186700C}"/>
                </a:ext>
              </a:extLst>
            </p:cNvPr>
            <p:cNvSpPr/>
            <p:nvPr/>
          </p:nvSpPr>
          <p:spPr>
            <a:xfrm>
              <a:off x="11517270" y="764033"/>
              <a:ext cx="261161" cy="212194"/>
            </a:xfrm>
            <a:custGeom>
              <a:avLst/>
              <a:gdLst>
                <a:gd name="connsiteX0" fmla="*/ 304324 w 457200"/>
                <a:gd name="connsiteY0" fmla="*/ 261461 h 371475"/>
                <a:gd name="connsiteX1" fmla="*/ 456724 w 457200"/>
                <a:gd name="connsiteY1" fmla="*/ 110014 h 371475"/>
                <a:gd name="connsiteX2" fmla="*/ 344329 w 457200"/>
                <a:gd name="connsiteY2" fmla="*/ 7144 h 371475"/>
                <a:gd name="connsiteX3" fmla="*/ 125254 w 457200"/>
                <a:gd name="connsiteY3" fmla="*/ 241459 h 371475"/>
                <a:gd name="connsiteX4" fmla="*/ 7144 w 457200"/>
                <a:gd name="connsiteY4" fmla="*/ 348139 h 371475"/>
                <a:gd name="connsiteX5" fmla="*/ 96679 w 457200"/>
                <a:gd name="connsiteY5" fmla="*/ 372904 h 371475"/>
                <a:gd name="connsiteX6" fmla="*/ 306229 w 457200"/>
                <a:gd name="connsiteY6" fmla="*/ 304324 h 371475"/>
                <a:gd name="connsiteX7" fmla="*/ 200501 w 457200"/>
                <a:gd name="connsiteY7" fmla="*/ 210026 h 371475"/>
                <a:gd name="connsiteX8" fmla="*/ 304324 w 457200"/>
                <a:gd name="connsiteY8" fmla="*/ 261461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57200" h="371475">
                  <a:moveTo>
                    <a:pt x="304324" y="261461"/>
                  </a:moveTo>
                  <a:cubicBezTo>
                    <a:pt x="390049" y="261461"/>
                    <a:pt x="455771" y="191929"/>
                    <a:pt x="456724" y="110014"/>
                  </a:cubicBezTo>
                  <a:cubicBezTo>
                    <a:pt x="451009" y="73819"/>
                    <a:pt x="438626" y="7144"/>
                    <a:pt x="344329" y="7144"/>
                  </a:cubicBezTo>
                  <a:cubicBezTo>
                    <a:pt x="242411" y="7144"/>
                    <a:pt x="208121" y="150019"/>
                    <a:pt x="125254" y="241459"/>
                  </a:cubicBezTo>
                  <a:cubicBezTo>
                    <a:pt x="118586" y="293846"/>
                    <a:pt x="69056" y="340519"/>
                    <a:pt x="7144" y="348139"/>
                  </a:cubicBezTo>
                  <a:cubicBezTo>
                    <a:pt x="22384" y="364331"/>
                    <a:pt x="55721" y="372904"/>
                    <a:pt x="96679" y="372904"/>
                  </a:cubicBezTo>
                  <a:cubicBezTo>
                    <a:pt x="170021" y="372904"/>
                    <a:pt x="259556" y="350996"/>
                    <a:pt x="306229" y="304324"/>
                  </a:cubicBezTo>
                  <a:cubicBezTo>
                    <a:pt x="244316" y="305276"/>
                    <a:pt x="204311" y="265271"/>
                    <a:pt x="200501" y="210026"/>
                  </a:cubicBezTo>
                  <a:cubicBezTo>
                    <a:pt x="230029" y="247174"/>
                    <a:pt x="264319" y="261461"/>
                    <a:pt x="304324" y="261461"/>
                  </a:cubicBezTo>
                  <a:close/>
                </a:path>
              </a:pathLst>
            </a:custGeom>
            <a:solidFill>
              <a:srgbClr val="17ABDB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96F08509-FA85-4193-A497-0E692E886745}"/>
                </a:ext>
              </a:extLst>
            </p:cNvPr>
            <p:cNvSpPr/>
            <p:nvPr/>
          </p:nvSpPr>
          <p:spPr>
            <a:xfrm>
              <a:off x="9550400" y="619305"/>
              <a:ext cx="1811806" cy="495120"/>
            </a:xfrm>
            <a:custGeom>
              <a:avLst/>
              <a:gdLst>
                <a:gd name="connsiteX0" fmla="*/ 3092291 w 3171825"/>
                <a:gd name="connsiteY0" fmla="*/ 287179 h 866775"/>
                <a:gd name="connsiteX1" fmla="*/ 3059907 w 3171825"/>
                <a:gd name="connsiteY1" fmla="*/ 211931 h 866775"/>
                <a:gd name="connsiteX2" fmla="*/ 3027521 w 3171825"/>
                <a:gd name="connsiteY2" fmla="*/ 218599 h 866775"/>
                <a:gd name="connsiteX3" fmla="*/ 2960846 w 3171825"/>
                <a:gd name="connsiteY3" fmla="*/ 507206 h 866775"/>
                <a:gd name="connsiteX4" fmla="*/ 2816066 w 3171825"/>
                <a:gd name="connsiteY4" fmla="*/ 178594 h 866775"/>
                <a:gd name="connsiteX5" fmla="*/ 2679859 w 3171825"/>
                <a:gd name="connsiteY5" fmla="*/ 440531 h 866775"/>
                <a:gd name="connsiteX6" fmla="*/ 2670334 w 3171825"/>
                <a:gd name="connsiteY6" fmla="*/ 319564 h 866775"/>
                <a:gd name="connsiteX7" fmla="*/ 2677001 w 3171825"/>
                <a:gd name="connsiteY7" fmla="*/ 254794 h 866775"/>
                <a:gd name="connsiteX8" fmla="*/ 2611279 w 3171825"/>
                <a:gd name="connsiteY8" fmla="*/ 209074 h 866775"/>
                <a:gd name="connsiteX9" fmla="*/ 2533174 w 3171825"/>
                <a:gd name="connsiteY9" fmla="*/ 510064 h 866775"/>
                <a:gd name="connsiteX10" fmla="*/ 2470309 w 3171825"/>
                <a:gd name="connsiteY10" fmla="*/ 292894 h 866775"/>
                <a:gd name="connsiteX11" fmla="*/ 2405539 w 3171825"/>
                <a:gd name="connsiteY11" fmla="*/ 208121 h 866775"/>
                <a:gd name="connsiteX12" fmla="*/ 2325529 w 3171825"/>
                <a:gd name="connsiteY12" fmla="*/ 494824 h 866775"/>
                <a:gd name="connsiteX13" fmla="*/ 2206466 w 3171825"/>
                <a:gd name="connsiteY13" fmla="*/ 211931 h 866775"/>
                <a:gd name="connsiteX14" fmla="*/ 2087404 w 3171825"/>
                <a:gd name="connsiteY14" fmla="*/ 479584 h 866775"/>
                <a:gd name="connsiteX15" fmla="*/ 1983581 w 3171825"/>
                <a:gd name="connsiteY15" fmla="*/ 178594 h 866775"/>
                <a:gd name="connsiteX16" fmla="*/ 1877854 w 3171825"/>
                <a:gd name="connsiteY16" fmla="*/ 391954 h 866775"/>
                <a:gd name="connsiteX17" fmla="*/ 1867376 w 3171825"/>
                <a:gd name="connsiteY17" fmla="*/ 390049 h 866775"/>
                <a:gd name="connsiteX18" fmla="*/ 1866424 w 3171825"/>
                <a:gd name="connsiteY18" fmla="*/ 327184 h 866775"/>
                <a:gd name="connsiteX19" fmla="*/ 1807369 w 3171825"/>
                <a:gd name="connsiteY19" fmla="*/ 202406 h 866775"/>
                <a:gd name="connsiteX20" fmla="*/ 1654969 w 3171825"/>
                <a:gd name="connsiteY20" fmla="*/ 512921 h 866775"/>
                <a:gd name="connsiteX21" fmla="*/ 1592104 w 3171825"/>
                <a:gd name="connsiteY21" fmla="*/ 483394 h 866775"/>
                <a:gd name="connsiteX22" fmla="*/ 1719739 w 3171825"/>
                <a:gd name="connsiteY22" fmla="*/ 306229 h 866775"/>
                <a:gd name="connsiteX23" fmla="*/ 1619726 w 3171825"/>
                <a:gd name="connsiteY23" fmla="*/ 202406 h 866775"/>
                <a:gd name="connsiteX24" fmla="*/ 1483519 w 3171825"/>
                <a:gd name="connsiteY24" fmla="*/ 369094 h 866775"/>
                <a:gd name="connsiteX25" fmla="*/ 1503521 w 3171825"/>
                <a:gd name="connsiteY25" fmla="*/ 473869 h 866775"/>
                <a:gd name="connsiteX26" fmla="*/ 1418749 w 3171825"/>
                <a:gd name="connsiteY26" fmla="*/ 512921 h 866775"/>
                <a:gd name="connsiteX27" fmla="*/ 1400651 w 3171825"/>
                <a:gd name="connsiteY27" fmla="*/ 274796 h 866775"/>
                <a:gd name="connsiteX28" fmla="*/ 1336834 w 3171825"/>
                <a:gd name="connsiteY28" fmla="*/ 326231 h 866775"/>
                <a:gd name="connsiteX29" fmla="*/ 1262539 w 3171825"/>
                <a:gd name="connsiteY29" fmla="*/ 479584 h 866775"/>
                <a:gd name="connsiteX30" fmla="*/ 1223486 w 3171825"/>
                <a:gd name="connsiteY30" fmla="*/ 421481 h 866775"/>
                <a:gd name="connsiteX31" fmla="*/ 1402556 w 3171825"/>
                <a:gd name="connsiteY31" fmla="*/ 250031 h 866775"/>
                <a:gd name="connsiteX32" fmla="*/ 1343501 w 3171825"/>
                <a:gd name="connsiteY32" fmla="*/ 192881 h 866775"/>
                <a:gd name="connsiteX33" fmla="*/ 1181576 w 3171825"/>
                <a:gd name="connsiteY33" fmla="*/ 290989 h 866775"/>
                <a:gd name="connsiteX34" fmla="*/ 1086326 w 3171825"/>
                <a:gd name="connsiteY34" fmla="*/ 385286 h 866775"/>
                <a:gd name="connsiteX35" fmla="*/ 1088231 w 3171825"/>
                <a:gd name="connsiteY35" fmla="*/ 358616 h 866775"/>
                <a:gd name="connsiteX36" fmla="*/ 974884 w 3171825"/>
                <a:gd name="connsiteY36" fmla="*/ 204311 h 866775"/>
                <a:gd name="connsiteX37" fmla="*/ 883444 w 3171825"/>
                <a:gd name="connsiteY37" fmla="*/ 273844 h 866775"/>
                <a:gd name="connsiteX38" fmla="*/ 846296 w 3171825"/>
                <a:gd name="connsiteY38" fmla="*/ 213836 h 866775"/>
                <a:gd name="connsiteX39" fmla="*/ 805339 w 3171825"/>
                <a:gd name="connsiteY39" fmla="*/ 224314 h 866775"/>
                <a:gd name="connsiteX40" fmla="*/ 814864 w 3171825"/>
                <a:gd name="connsiteY40" fmla="*/ 334804 h 866775"/>
                <a:gd name="connsiteX41" fmla="*/ 742474 w 3171825"/>
                <a:gd name="connsiteY41" fmla="*/ 520541 h 866775"/>
                <a:gd name="connsiteX42" fmla="*/ 691991 w 3171825"/>
                <a:gd name="connsiteY42" fmla="*/ 309086 h 866775"/>
                <a:gd name="connsiteX43" fmla="*/ 671989 w 3171825"/>
                <a:gd name="connsiteY43" fmla="*/ 305276 h 866775"/>
                <a:gd name="connsiteX44" fmla="*/ 621506 w 3171825"/>
                <a:gd name="connsiteY44" fmla="*/ 399574 h 866775"/>
                <a:gd name="connsiteX45" fmla="*/ 539591 w 3171825"/>
                <a:gd name="connsiteY45" fmla="*/ 512921 h 866775"/>
                <a:gd name="connsiteX46" fmla="*/ 495776 w 3171825"/>
                <a:gd name="connsiteY46" fmla="*/ 443389 h 866775"/>
                <a:gd name="connsiteX47" fmla="*/ 685324 w 3171825"/>
                <a:gd name="connsiteY47" fmla="*/ 278606 h 866775"/>
                <a:gd name="connsiteX48" fmla="*/ 627221 w 3171825"/>
                <a:gd name="connsiteY48" fmla="*/ 214789 h 866775"/>
                <a:gd name="connsiteX49" fmla="*/ 437674 w 3171825"/>
                <a:gd name="connsiteY49" fmla="*/ 355759 h 866775"/>
                <a:gd name="connsiteX50" fmla="*/ 237649 w 3171825"/>
                <a:gd name="connsiteY50" fmla="*/ 529114 h 866775"/>
                <a:gd name="connsiteX51" fmla="*/ 97631 w 3171825"/>
                <a:gd name="connsiteY51" fmla="*/ 313849 h 866775"/>
                <a:gd name="connsiteX52" fmla="*/ 261461 w 3171825"/>
                <a:gd name="connsiteY52" fmla="*/ 69056 h 866775"/>
                <a:gd name="connsiteX53" fmla="*/ 329089 w 3171825"/>
                <a:gd name="connsiteY53" fmla="*/ 181451 h 866775"/>
                <a:gd name="connsiteX54" fmla="*/ 410051 w 3171825"/>
                <a:gd name="connsiteY54" fmla="*/ 121444 h 866775"/>
                <a:gd name="connsiteX55" fmla="*/ 265271 w 3171825"/>
                <a:gd name="connsiteY55" fmla="*/ 7144 h 866775"/>
                <a:gd name="connsiteX56" fmla="*/ 7144 w 3171825"/>
                <a:gd name="connsiteY56" fmla="*/ 324326 h 866775"/>
                <a:gd name="connsiteX57" fmla="*/ 220504 w 3171825"/>
                <a:gd name="connsiteY57" fmla="*/ 601504 h 866775"/>
                <a:gd name="connsiteX58" fmla="*/ 425291 w 3171825"/>
                <a:gd name="connsiteY58" fmla="*/ 472916 h 866775"/>
                <a:gd name="connsiteX59" fmla="*/ 525304 w 3171825"/>
                <a:gd name="connsiteY59" fmla="*/ 576739 h 866775"/>
                <a:gd name="connsiteX60" fmla="*/ 646271 w 3171825"/>
                <a:gd name="connsiteY60" fmla="*/ 485299 h 866775"/>
                <a:gd name="connsiteX61" fmla="*/ 734854 w 3171825"/>
                <a:gd name="connsiteY61" fmla="*/ 576739 h 866775"/>
                <a:gd name="connsiteX62" fmla="*/ 812959 w 3171825"/>
                <a:gd name="connsiteY62" fmla="*/ 532924 h 866775"/>
                <a:gd name="connsiteX63" fmla="*/ 904399 w 3171825"/>
                <a:gd name="connsiteY63" fmla="*/ 810101 h 866775"/>
                <a:gd name="connsiteX64" fmla="*/ 882491 w 3171825"/>
                <a:gd name="connsiteY64" fmla="*/ 577691 h 866775"/>
                <a:gd name="connsiteX65" fmla="*/ 969169 w 3171825"/>
                <a:gd name="connsiteY65" fmla="*/ 267176 h 866775"/>
                <a:gd name="connsiteX66" fmla="*/ 1015841 w 3171825"/>
                <a:gd name="connsiteY66" fmla="*/ 359569 h 866775"/>
                <a:gd name="connsiteX67" fmla="*/ 1007269 w 3171825"/>
                <a:gd name="connsiteY67" fmla="*/ 440531 h 866775"/>
                <a:gd name="connsiteX68" fmla="*/ 900589 w 3171825"/>
                <a:gd name="connsiteY68" fmla="*/ 545306 h 866775"/>
                <a:gd name="connsiteX69" fmla="*/ 941546 w 3171825"/>
                <a:gd name="connsiteY69" fmla="*/ 577691 h 866775"/>
                <a:gd name="connsiteX70" fmla="*/ 1072039 w 3171825"/>
                <a:gd name="connsiteY70" fmla="*/ 449104 h 866775"/>
                <a:gd name="connsiteX71" fmla="*/ 1150144 w 3171825"/>
                <a:gd name="connsiteY71" fmla="*/ 390049 h 866775"/>
                <a:gd name="connsiteX72" fmla="*/ 1149191 w 3171825"/>
                <a:gd name="connsiteY72" fmla="*/ 415766 h 866775"/>
                <a:gd name="connsiteX73" fmla="*/ 1244441 w 3171825"/>
                <a:gd name="connsiteY73" fmla="*/ 550069 h 866775"/>
                <a:gd name="connsiteX74" fmla="*/ 1349216 w 3171825"/>
                <a:gd name="connsiteY74" fmla="*/ 469106 h 866775"/>
                <a:gd name="connsiteX75" fmla="*/ 1352074 w 3171825"/>
                <a:gd name="connsiteY75" fmla="*/ 547211 h 866775"/>
                <a:gd name="connsiteX76" fmla="*/ 1155859 w 3171825"/>
                <a:gd name="connsiteY76" fmla="*/ 754856 h 866775"/>
                <a:gd name="connsiteX77" fmla="*/ 1259681 w 3171825"/>
                <a:gd name="connsiteY77" fmla="*/ 864394 h 866775"/>
                <a:gd name="connsiteX78" fmla="*/ 1419701 w 3171825"/>
                <a:gd name="connsiteY78" fmla="*/ 569119 h 866775"/>
                <a:gd name="connsiteX79" fmla="*/ 1529239 w 3171825"/>
                <a:gd name="connsiteY79" fmla="*/ 518636 h 866775"/>
                <a:gd name="connsiteX80" fmla="*/ 1640681 w 3171825"/>
                <a:gd name="connsiteY80" fmla="*/ 576739 h 866775"/>
                <a:gd name="connsiteX81" fmla="*/ 1813084 w 3171825"/>
                <a:gd name="connsiteY81" fmla="*/ 459581 h 866775"/>
                <a:gd name="connsiteX82" fmla="*/ 1868329 w 3171825"/>
                <a:gd name="connsiteY82" fmla="*/ 576739 h 866775"/>
                <a:gd name="connsiteX83" fmla="*/ 1980724 w 3171825"/>
                <a:gd name="connsiteY83" fmla="*/ 273844 h 866775"/>
                <a:gd name="connsiteX84" fmla="*/ 2074069 w 3171825"/>
                <a:gd name="connsiteY84" fmla="*/ 601504 h 866775"/>
                <a:gd name="connsiteX85" fmla="*/ 2198846 w 3171825"/>
                <a:gd name="connsiteY85" fmla="*/ 312896 h 866775"/>
                <a:gd name="connsiteX86" fmla="*/ 2307432 w 3171825"/>
                <a:gd name="connsiteY86" fmla="*/ 576739 h 866775"/>
                <a:gd name="connsiteX87" fmla="*/ 2412207 w 3171825"/>
                <a:gd name="connsiteY87" fmla="*/ 428149 h 866775"/>
                <a:gd name="connsiteX88" fmla="*/ 2521744 w 3171825"/>
                <a:gd name="connsiteY88" fmla="*/ 576739 h 866775"/>
                <a:gd name="connsiteX89" fmla="*/ 2618899 w 3171825"/>
                <a:gd name="connsiteY89" fmla="*/ 486251 h 866775"/>
                <a:gd name="connsiteX90" fmla="*/ 2670334 w 3171825"/>
                <a:gd name="connsiteY90" fmla="*/ 576739 h 866775"/>
                <a:gd name="connsiteX91" fmla="*/ 2803684 w 3171825"/>
                <a:gd name="connsiteY91" fmla="*/ 274796 h 866775"/>
                <a:gd name="connsiteX92" fmla="*/ 2947511 w 3171825"/>
                <a:gd name="connsiteY92" fmla="*/ 576739 h 866775"/>
                <a:gd name="connsiteX93" fmla="*/ 3040857 w 3171825"/>
                <a:gd name="connsiteY93" fmla="*/ 474821 h 866775"/>
                <a:gd name="connsiteX94" fmla="*/ 3121819 w 3171825"/>
                <a:gd name="connsiteY94" fmla="*/ 576739 h 866775"/>
                <a:gd name="connsiteX95" fmla="*/ 3169444 w 3171825"/>
                <a:gd name="connsiteY95" fmla="*/ 550069 h 866775"/>
                <a:gd name="connsiteX96" fmla="*/ 3092291 w 3171825"/>
                <a:gd name="connsiteY96" fmla="*/ 287179 h 866775"/>
                <a:gd name="connsiteX97" fmla="*/ 1267301 w 3171825"/>
                <a:gd name="connsiteY97" fmla="*/ 806291 h 866775"/>
                <a:gd name="connsiteX98" fmla="*/ 1226344 w 3171825"/>
                <a:gd name="connsiteY98" fmla="*/ 751999 h 866775"/>
                <a:gd name="connsiteX99" fmla="*/ 1353026 w 3171825"/>
                <a:gd name="connsiteY99" fmla="*/ 597694 h 866775"/>
                <a:gd name="connsiteX100" fmla="*/ 1267301 w 3171825"/>
                <a:gd name="connsiteY100" fmla="*/ 806291 h 866775"/>
                <a:gd name="connsiteX101" fmla="*/ 1614964 w 3171825"/>
                <a:gd name="connsiteY101" fmla="*/ 257651 h 866775"/>
                <a:gd name="connsiteX102" fmla="*/ 1653064 w 3171825"/>
                <a:gd name="connsiteY102" fmla="*/ 315754 h 866775"/>
                <a:gd name="connsiteX103" fmla="*/ 1569244 w 3171825"/>
                <a:gd name="connsiteY103" fmla="*/ 438626 h 866775"/>
                <a:gd name="connsiteX104" fmla="*/ 1614964 w 3171825"/>
                <a:gd name="connsiteY104" fmla="*/ 257651 h 866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3171825" h="866775">
                  <a:moveTo>
                    <a:pt x="3092291" y="287179"/>
                  </a:moveTo>
                  <a:cubicBezTo>
                    <a:pt x="3092291" y="241459"/>
                    <a:pt x="3089434" y="211931"/>
                    <a:pt x="3059907" y="211931"/>
                  </a:cubicBezTo>
                  <a:cubicBezTo>
                    <a:pt x="3046571" y="211931"/>
                    <a:pt x="3039904" y="214789"/>
                    <a:pt x="3027521" y="218599"/>
                  </a:cubicBezTo>
                  <a:cubicBezTo>
                    <a:pt x="3037999" y="371951"/>
                    <a:pt x="3003709" y="507206"/>
                    <a:pt x="2960846" y="507206"/>
                  </a:cubicBezTo>
                  <a:cubicBezTo>
                    <a:pt x="2905601" y="507206"/>
                    <a:pt x="2933224" y="178594"/>
                    <a:pt x="2816066" y="178594"/>
                  </a:cubicBezTo>
                  <a:cubicBezTo>
                    <a:pt x="2707482" y="178594"/>
                    <a:pt x="2692241" y="440531"/>
                    <a:pt x="2679859" y="440531"/>
                  </a:cubicBezTo>
                  <a:cubicBezTo>
                    <a:pt x="2671286" y="440531"/>
                    <a:pt x="2670334" y="371951"/>
                    <a:pt x="2670334" y="319564"/>
                  </a:cubicBezTo>
                  <a:cubicBezTo>
                    <a:pt x="2675096" y="294799"/>
                    <a:pt x="2677001" y="271939"/>
                    <a:pt x="2677001" y="254794"/>
                  </a:cubicBezTo>
                  <a:cubicBezTo>
                    <a:pt x="2677001" y="230029"/>
                    <a:pt x="2667476" y="188119"/>
                    <a:pt x="2611279" y="209074"/>
                  </a:cubicBezTo>
                  <a:cubicBezTo>
                    <a:pt x="2613184" y="396716"/>
                    <a:pt x="2576036" y="510064"/>
                    <a:pt x="2533174" y="510064"/>
                  </a:cubicBezTo>
                  <a:cubicBezTo>
                    <a:pt x="2471261" y="510064"/>
                    <a:pt x="2470309" y="340519"/>
                    <a:pt x="2470309" y="292894"/>
                  </a:cubicBezTo>
                  <a:cubicBezTo>
                    <a:pt x="2470309" y="247174"/>
                    <a:pt x="2473166" y="186214"/>
                    <a:pt x="2405539" y="208121"/>
                  </a:cubicBezTo>
                  <a:cubicBezTo>
                    <a:pt x="2395061" y="371951"/>
                    <a:pt x="2352199" y="494824"/>
                    <a:pt x="2325529" y="494824"/>
                  </a:cubicBezTo>
                  <a:cubicBezTo>
                    <a:pt x="2285524" y="494824"/>
                    <a:pt x="2293144" y="211931"/>
                    <a:pt x="2206466" y="211931"/>
                  </a:cubicBezTo>
                  <a:cubicBezTo>
                    <a:pt x="2128361" y="211931"/>
                    <a:pt x="2103596" y="479584"/>
                    <a:pt x="2087404" y="479584"/>
                  </a:cubicBezTo>
                  <a:cubicBezTo>
                    <a:pt x="2057876" y="479584"/>
                    <a:pt x="2096929" y="178594"/>
                    <a:pt x="1983581" y="178594"/>
                  </a:cubicBezTo>
                  <a:cubicBezTo>
                    <a:pt x="1924526" y="178594"/>
                    <a:pt x="1900714" y="279559"/>
                    <a:pt x="1877854" y="391954"/>
                  </a:cubicBezTo>
                  <a:cubicBezTo>
                    <a:pt x="1873091" y="413861"/>
                    <a:pt x="1868329" y="414814"/>
                    <a:pt x="1867376" y="390049"/>
                  </a:cubicBezTo>
                  <a:cubicBezTo>
                    <a:pt x="1866424" y="370046"/>
                    <a:pt x="1866424" y="347186"/>
                    <a:pt x="1866424" y="327184"/>
                  </a:cubicBezTo>
                  <a:cubicBezTo>
                    <a:pt x="1894999" y="213836"/>
                    <a:pt x="1859756" y="171926"/>
                    <a:pt x="1807369" y="202406"/>
                  </a:cubicBezTo>
                  <a:cubicBezTo>
                    <a:pt x="1824514" y="411004"/>
                    <a:pt x="1728311" y="512921"/>
                    <a:pt x="1654969" y="512921"/>
                  </a:cubicBezTo>
                  <a:cubicBezTo>
                    <a:pt x="1628299" y="512921"/>
                    <a:pt x="1607344" y="501491"/>
                    <a:pt x="1592104" y="483394"/>
                  </a:cubicBezTo>
                  <a:cubicBezTo>
                    <a:pt x="1680686" y="429101"/>
                    <a:pt x="1719739" y="367189"/>
                    <a:pt x="1719739" y="306229"/>
                  </a:cubicBezTo>
                  <a:cubicBezTo>
                    <a:pt x="1719739" y="240506"/>
                    <a:pt x="1681639" y="202406"/>
                    <a:pt x="1619726" y="202406"/>
                  </a:cubicBezTo>
                  <a:cubicBezTo>
                    <a:pt x="1532096" y="202406"/>
                    <a:pt x="1483519" y="292894"/>
                    <a:pt x="1483519" y="369094"/>
                  </a:cubicBezTo>
                  <a:cubicBezTo>
                    <a:pt x="1483519" y="410051"/>
                    <a:pt x="1491139" y="445294"/>
                    <a:pt x="1503521" y="473869"/>
                  </a:cubicBezTo>
                  <a:cubicBezTo>
                    <a:pt x="1473041" y="488156"/>
                    <a:pt x="1445419" y="500539"/>
                    <a:pt x="1418749" y="512921"/>
                  </a:cubicBezTo>
                  <a:cubicBezTo>
                    <a:pt x="1416844" y="433864"/>
                    <a:pt x="1407319" y="350996"/>
                    <a:pt x="1400651" y="274796"/>
                  </a:cubicBezTo>
                  <a:cubicBezTo>
                    <a:pt x="1353979" y="262414"/>
                    <a:pt x="1340644" y="284321"/>
                    <a:pt x="1336834" y="326231"/>
                  </a:cubicBezTo>
                  <a:cubicBezTo>
                    <a:pt x="1328261" y="420529"/>
                    <a:pt x="1293971" y="479584"/>
                    <a:pt x="1262539" y="479584"/>
                  </a:cubicBezTo>
                  <a:cubicBezTo>
                    <a:pt x="1239679" y="479584"/>
                    <a:pt x="1225391" y="451009"/>
                    <a:pt x="1223486" y="421481"/>
                  </a:cubicBezTo>
                  <a:cubicBezTo>
                    <a:pt x="1214914" y="270034"/>
                    <a:pt x="1337786" y="228124"/>
                    <a:pt x="1402556" y="250031"/>
                  </a:cubicBezTo>
                  <a:cubicBezTo>
                    <a:pt x="1415891" y="216694"/>
                    <a:pt x="1401604" y="192881"/>
                    <a:pt x="1343501" y="192881"/>
                  </a:cubicBezTo>
                  <a:cubicBezTo>
                    <a:pt x="1273016" y="192881"/>
                    <a:pt x="1220629" y="235744"/>
                    <a:pt x="1181576" y="290989"/>
                  </a:cubicBezTo>
                  <a:cubicBezTo>
                    <a:pt x="1155859" y="327184"/>
                    <a:pt x="1126331" y="353854"/>
                    <a:pt x="1086326" y="385286"/>
                  </a:cubicBezTo>
                  <a:cubicBezTo>
                    <a:pt x="1087279" y="375761"/>
                    <a:pt x="1088231" y="367189"/>
                    <a:pt x="1088231" y="358616"/>
                  </a:cubicBezTo>
                  <a:cubicBezTo>
                    <a:pt x="1088231" y="251936"/>
                    <a:pt x="1030129" y="204311"/>
                    <a:pt x="974884" y="204311"/>
                  </a:cubicBezTo>
                  <a:cubicBezTo>
                    <a:pt x="929164" y="204311"/>
                    <a:pt x="900589" y="231934"/>
                    <a:pt x="883444" y="273844"/>
                  </a:cubicBezTo>
                  <a:cubicBezTo>
                    <a:pt x="879634" y="231934"/>
                    <a:pt x="871061" y="213836"/>
                    <a:pt x="846296" y="213836"/>
                  </a:cubicBezTo>
                  <a:cubicBezTo>
                    <a:pt x="835819" y="213836"/>
                    <a:pt x="821531" y="216694"/>
                    <a:pt x="805339" y="224314"/>
                  </a:cubicBezTo>
                  <a:cubicBezTo>
                    <a:pt x="812959" y="248126"/>
                    <a:pt x="814864" y="300514"/>
                    <a:pt x="814864" y="334804"/>
                  </a:cubicBezTo>
                  <a:cubicBezTo>
                    <a:pt x="814864" y="463391"/>
                    <a:pt x="777716" y="520541"/>
                    <a:pt x="742474" y="520541"/>
                  </a:cubicBezTo>
                  <a:cubicBezTo>
                    <a:pt x="701516" y="520541"/>
                    <a:pt x="695801" y="368141"/>
                    <a:pt x="691991" y="309086"/>
                  </a:cubicBezTo>
                  <a:cubicBezTo>
                    <a:pt x="687229" y="307181"/>
                    <a:pt x="681514" y="305276"/>
                    <a:pt x="671989" y="305276"/>
                  </a:cubicBezTo>
                  <a:cubicBezTo>
                    <a:pt x="635794" y="305276"/>
                    <a:pt x="631031" y="354806"/>
                    <a:pt x="621506" y="399574"/>
                  </a:cubicBezTo>
                  <a:cubicBezTo>
                    <a:pt x="611029" y="450056"/>
                    <a:pt x="582454" y="512921"/>
                    <a:pt x="539591" y="512921"/>
                  </a:cubicBezTo>
                  <a:cubicBezTo>
                    <a:pt x="513874" y="512921"/>
                    <a:pt x="497681" y="488156"/>
                    <a:pt x="495776" y="443389"/>
                  </a:cubicBezTo>
                  <a:cubicBezTo>
                    <a:pt x="491966" y="352901"/>
                    <a:pt x="567214" y="245269"/>
                    <a:pt x="685324" y="278606"/>
                  </a:cubicBezTo>
                  <a:cubicBezTo>
                    <a:pt x="700564" y="242411"/>
                    <a:pt x="676751" y="214789"/>
                    <a:pt x="627221" y="214789"/>
                  </a:cubicBezTo>
                  <a:cubicBezTo>
                    <a:pt x="540544" y="214789"/>
                    <a:pt x="469106" y="279559"/>
                    <a:pt x="437674" y="355759"/>
                  </a:cubicBezTo>
                  <a:cubicBezTo>
                    <a:pt x="406241" y="426244"/>
                    <a:pt x="350996" y="529114"/>
                    <a:pt x="237649" y="529114"/>
                  </a:cubicBezTo>
                  <a:cubicBezTo>
                    <a:pt x="157639" y="529114"/>
                    <a:pt x="97631" y="459581"/>
                    <a:pt x="97631" y="313849"/>
                  </a:cubicBezTo>
                  <a:cubicBezTo>
                    <a:pt x="97631" y="188119"/>
                    <a:pt x="176689" y="69056"/>
                    <a:pt x="261461" y="69056"/>
                  </a:cubicBezTo>
                  <a:cubicBezTo>
                    <a:pt x="320516" y="69056"/>
                    <a:pt x="333851" y="127159"/>
                    <a:pt x="329089" y="181451"/>
                  </a:cubicBezTo>
                  <a:cubicBezTo>
                    <a:pt x="359569" y="206216"/>
                    <a:pt x="410051" y="183356"/>
                    <a:pt x="410051" y="121444"/>
                  </a:cubicBezTo>
                  <a:cubicBezTo>
                    <a:pt x="410051" y="79534"/>
                    <a:pt x="375761" y="7144"/>
                    <a:pt x="265271" y="7144"/>
                  </a:cubicBezTo>
                  <a:cubicBezTo>
                    <a:pt x="128111" y="7144"/>
                    <a:pt x="7144" y="144304"/>
                    <a:pt x="7144" y="324326"/>
                  </a:cubicBezTo>
                  <a:cubicBezTo>
                    <a:pt x="7144" y="498634"/>
                    <a:pt x="95726" y="601504"/>
                    <a:pt x="220504" y="601504"/>
                  </a:cubicBezTo>
                  <a:cubicBezTo>
                    <a:pt x="299561" y="601504"/>
                    <a:pt x="373856" y="556736"/>
                    <a:pt x="425291" y="472916"/>
                  </a:cubicBezTo>
                  <a:cubicBezTo>
                    <a:pt x="438626" y="545306"/>
                    <a:pt x="488156" y="576739"/>
                    <a:pt x="525304" y="576739"/>
                  </a:cubicBezTo>
                  <a:cubicBezTo>
                    <a:pt x="585311" y="576739"/>
                    <a:pt x="624364" y="537686"/>
                    <a:pt x="646271" y="485299"/>
                  </a:cubicBezTo>
                  <a:cubicBezTo>
                    <a:pt x="659606" y="537686"/>
                    <a:pt x="688181" y="576739"/>
                    <a:pt x="734854" y="576739"/>
                  </a:cubicBezTo>
                  <a:cubicBezTo>
                    <a:pt x="768191" y="576739"/>
                    <a:pt x="793909" y="559594"/>
                    <a:pt x="812959" y="532924"/>
                  </a:cubicBezTo>
                  <a:cubicBezTo>
                    <a:pt x="805339" y="716756"/>
                    <a:pt x="795814" y="832961"/>
                    <a:pt x="904399" y="810101"/>
                  </a:cubicBezTo>
                  <a:cubicBezTo>
                    <a:pt x="887254" y="757714"/>
                    <a:pt x="882491" y="663416"/>
                    <a:pt x="882491" y="577691"/>
                  </a:cubicBezTo>
                  <a:cubicBezTo>
                    <a:pt x="882491" y="344329"/>
                    <a:pt x="920591" y="267176"/>
                    <a:pt x="969169" y="267176"/>
                  </a:cubicBezTo>
                  <a:cubicBezTo>
                    <a:pt x="1004411" y="267176"/>
                    <a:pt x="1015841" y="311944"/>
                    <a:pt x="1015841" y="359569"/>
                  </a:cubicBezTo>
                  <a:cubicBezTo>
                    <a:pt x="1015841" y="385286"/>
                    <a:pt x="1012984" y="413861"/>
                    <a:pt x="1007269" y="440531"/>
                  </a:cubicBezTo>
                  <a:cubicBezTo>
                    <a:pt x="948214" y="477679"/>
                    <a:pt x="900589" y="507206"/>
                    <a:pt x="900589" y="545306"/>
                  </a:cubicBezTo>
                  <a:cubicBezTo>
                    <a:pt x="900589" y="574834"/>
                    <a:pt x="922496" y="577691"/>
                    <a:pt x="941546" y="577691"/>
                  </a:cubicBezTo>
                  <a:cubicBezTo>
                    <a:pt x="987266" y="577691"/>
                    <a:pt x="1041559" y="532924"/>
                    <a:pt x="1072039" y="449104"/>
                  </a:cubicBezTo>
                  <a:cubicBezTo>
                    <a:pt x="1098709" y="432911"/>
                    <a:pt x="1125379" y="414814"/>
                    <a:pt x="1150144" y="390049"/>
                  </a:cubicBezTo>
                  <a:cubicBezTo>
                    <a:pt x="1149191" y="398621"/>
                    <a:pt x="1149191" y="407194"/>
                    <a:pt x="1149191" y="415766"/>
                  </a:cubicBezTo>
                  <a:cubicBezTo>
                    <a:pt x="1149191" y="499586"/>
                    <a:pt x="1185386" y="550069"/>
                    <a:pt x="1244441" y="550069"/>
                  </a:cubicBezTo>
                  <a:cubicBezTo>
                    <a:pt x="1290161" y="550069"/>
                    <a:pt x="1324451" y="517684"/>
                    <a:pt x="1349216" y="469106"/>
                  </a:cubicBezTo>
                  <a:cubicBezTo>
                    <a:pt x="1351121" y="496729"/>
                    <a:pt x="1352074" y="523399"/>
                    <a:pt x="1352074" y="547211"/>
                  </a:cubicBezTo>
                  <a:cubicBezTo>
                    <a:pt x="1258729" y="590074"/>
                    <a:pt x="1155859" y="633889"/>
                    <a:pt x="1155859" y="754856"/>
                  </a:cubicBezTo>
                  <a:cubicBezTo>
                    <a:pt x="1155859" y="817721"/>
                    <a:pt x="1201579" y="864394"/>
                    <a:pt x="1259681" y="864394"/>
                  </a:cubicBezTo>
                  <a:cubicBezTo>
                    <a:pt x="1389221" y="864394"/>
                    <a:pt x="1418749" y="728186"/>
                    <a:pt x="1419701" y="569119"/>
                  </a:cubicBezTo>
                  <a:cubicBezTo>
                    <a:pt x="1461611" y="551021"/>
                    <a:pt x="1493044" y="536734"/>
                    <a:pt x="1529239" y="518636"/>
                  </a:cubicBezTo>
                  <a:cubicBezTo>
                    <a:pt x="1560671" y="557689"/>
                    <a:pt x="1602581" y="576739"/>
                    <a:pt x="1640681" y="576739"/>
                  </a:cubicBezTo>
                  <a:cubicBezTo>
                    <a:pt x="1714024" y="576739"/>
                    <a:pt x="1768316" y="537686"/>
                    <a:pt x="1813084" y="459581"/>
                  </a:cubicBezTo>
                  <a:cubicBezTo>
                    <a:pt x="1820704" y="519589"/>
                    <a:pt x="1835944" y="576739"/>
                    <a:pt x="1868329" y="576739"/>
                  </a:cubicBezTo>
                  <a:cubicBezTo>
                    <a:pt x="1926431" y="576739"/>
                    <a:pt x="1937861" y="273844"/>
                    <a:pt x="1980724" y="273844"/>
                  </a:cubicBezTo>
                  <a:cubicBezTo>
                    <a:pt x="2014061" y="273844"/>
                    <a:pt x="1986439" y="601504"/>
                    <a:pt x="2074069" y="601504"/>
                  </a:cubicBezTo>
                  <a:cubicBezTo>
                    <a:pt x="2148364" y="601504"/>
                    <a:pt x="2162651" y="312896"/>
                    <a:pt x="2198846" y="312896"/>
                  </a:cubicBezTo>
                  <a:cubicBezTo>
                    <a:pt x="2224564" y="312896"/>
                    <a:pt x="2226469" y="576739"/>
                    <a:pt x="2307432" y="576739"/>
                  </a:cubicBezTo>
                  <a:cubicBezTo>
                    <a:pt x="2347436" y="576739"/>
                    <a:pt x="2390299" y="529114"/>
                    <a:pt x="2412207" y="428149"/>
                  </a:cubicBezTo>
                  <a:cubicBezTo>
                    <a:pt x="2422684" y="494824"/>
                    <a:pt x="2456021" y="576739"/>
                    <a:pt x="2521744" y="576739"/>
                  </a:cubicBezTo>
                  <a:cubicBezTo>
                    <a:pt x="2559844" y="576739"/>
                    <a:pt x="2593182" y="537686"/>
                    <a:pt x="2618899" y="486251"/>
                  </a:cubicBezTo>
                  <a:cubicBezTo>
                    <a:pt x="2625566" y="539591"/>
                    <a:pt x="2640807" y="576739"/>
                    <a:pt x="2670334" y="576739"/>
                  </a:cubicBezTo>
                  <a:cubicBezTo>
                    <a:pt x="2746534" y="576739"/>
                    <a:pt x="2743676" y="274796"/>
                    <a:pt x="2803684" y="274796"/>
                  </a:cubicBezTo>
                  <a:cubicBezTo>
                    <a:pt x="2850357" y="274796"/>
                    <a:pt x="2836069" y="576739"/>
                    <a:pt x="2947511" y="576739"/>
                  </a:cubicBezTo>
                  <a:cubicBezTo>
                    <a:pt x="3000851" y="576739"/>
                    <a:pt x="3025616" y="531971"/>
                    <a:pt x="3040857" y="474821"/>
                  </a:cubicBezTo>
                  <a:cubicBezTo>
                    <a:pt x="3061811" y="558641"/>
                    <a:pt x="3094196" y="576739"/>
                    <a:pt x="3121819" y="576739"/>
                  </a:cubicBezTo>
                  <a:cubicBezTo>
                    <a:pt x="3138964" y="576739"/>
                    <a:pt x="3152299" y="571024"/>
                    <a:pt x="3169444" y="550069"/>
                  </a:cubicBezTo>
                  <a:cubicBezTo>
                    <a:pt x="3085624" y="511969"/>
                    <a:pt x="3092291" y="375761"/>
                    <a:pt x="3092291" y="287179"/>
                  </a:cubicBezTo>
                  <a:close/>
                  <a:moveTo>
                    <a:pt x="1267301" y="806291"/>
                  </a:moveTo>
                  <a:cubicBezTo>
                    <a:pt x="1240631" y="806291"/>
                    <a:pt x="1226344" y="780574"/>
                    <a:pt x="1226344" y="751999"/>
                  </a:cubicBezTo>
                  <a:cubicBezTo>
                    <a:pt x="1226344" y="674846"/>
                    <a:pt x="1283494" y="632936"/>
                    <a:pt x="1353026" y="597694"/>
                  </a:cubicBezTo>
                  <a:cubicBezTo>
                    <a:pt x="1349216" y="768191"/>
                    <a:pt x="1310164" y="806291"/>
                    <a:pt x="1267301" y="806291"/>
                  </a:cubicBezTo>
                  <a:close/>
                  <a:moveTo>
                    <a:pt x="1614964" y="257651"/>
                  </a:moveTo>
                  <a:cubicBezTo>
                    <a:pt x="1640681" y="257651"/>
                    <a:pt x="1655921" y="281464"/>
                    <a:pt x="1653064" y="315754"/>
                  </a:cubicBezTo>
                  <a:cubicBezTo>
                    <a:pt x="1650206" y="355759"/>
                    <a:pt x="1620679" y="402431"/>
                    <a:pt x="1569244" y="438626"/>
                  </a:cubicBezTo>
                  <a:cubicBezTo>
                    <a:pt x="1543526" y="362426"/>
                    <a:pt x="1563529" y="257651"/>
                    <a:pt x="1614964" y="257651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A40793F6-8550-4F9A-98A1-4BD1C63DE3E6}"/>
                </a:ext>
              </a:extLst>
            </p:cNvPr>
            <p:cNvSpPr/>
            <p:nvPr/>
          </p:nvSpPr>
          <p:spPr>
            <a:xfrm>
              <a:off x="10915493" y="643771"/>
              <a:ext cx="54409" cy="59850"/>
            </a:xfrm>
            <a:custGeom>
              <a:avLst/>
              <a:gdLst>
                <a:gd name="connsiteX0" fmla="*/ 51942 w 95250"/>
                <a:gd name="connsiteY0" fmla="*/ 99569 h 104775"/>
                <a:gd name="connsiteX1" fmla="*/ 93853 w 95250"/>
                <a:gd name="connsiteY1" fmla="*/ 51944 h 104775"/>
                <a:gd name="connsiteX2" fmla="*/ 51942 w 95250"/>
                <a:gd name="connsiteY2" fmla="*/ 7176 h 104775"/>
                <a:gd name="connsiteX3" fmla="*/ 7175 w 95250"/>
                <a:gd name="connsiteY3" fmla="*/ 54801 h 104775"/>
                <a:gd name="connsiteX4" fmla="*/ 51942 w 95250"/>
                <a:gd name="connsiteY4" fmla="*/ 99569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104775">
                  <a:moveTo>
                    <a:pt x="51942" y="99569"/>
                  </a:moveTo>
                  <a:cubicBezTo>
                    <a:pt x="76707" y="98616"/>
                    <a:pt x="93853" y="77661"/>
                    <a:pt x="93853" y="51944"/>
                  </a:cubicBezTo>
                  <a:cubicBezTo>
                    <a:pt x="93853" y="26226"/>
                    <a:pt x="76707" y="6224"/>
                    <a:pt x="51942" y="7176"/>
                  </a:cubicBezTo>
                  <a:cubicBezTo>
                    <a:pt x="27178" y="8129"/>
                    <a:pt x="7175" y="29084"/>
                    <a:pt x="7175" y="54801"/>
                  </a:cubicBezTo>
                  <a:cubicBezTo>
                    <a:pt x="6222" y="80519"/>
                    <a:pt x="27178" y="100521"/>
                    <a:pt x="51942" y="99569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AF68DDBF-3EE2-4BFD-9E41-A500A2DB8E18}"/>
                </a:ext>
              </a:extLst>
            </p:cNvPr>
            <p:cNvSpPr/>
            <p:nvPr/>
          </p:nvSpPr>
          <p:spPr>
            <a:xfrm>
              <a:off x="11270254" y="654106"/>
              <a:ext cx="54409" cy="54409"/>
            </a:xfrm>
            <a:custGeom>
              <a:avLst/>
              <a:gdLst>
                <a:gd name="connsiteX0" fmla="*/ 48101 w 95250"/>
                <a:gd name="connsiteY0" fmla="*/ 94808 h 95250"/>
                <a:gd name="connsiteX1" fmla="*/ 89059 w 95250"/>
                <a:gd name="connsiteY1" fmla="*/ 49088 h 95250"/>
                <a:gd name="connsiteX2" fmla="*/ 48101 w 95250"/>
                <a:gd name="connsiteY2" fmla="*/ 7178 h 95250"/>
                <a:gd name="connsiteX3" fmla="*/ 7144 w 95250"/>
                <a:gd name="connsiteY3" fmla="*/ 52898 h 95250"/>
                <a:gd name="connsiteX4" fmla="*/ 48101 w 95250"/>
                <a:gd name="connsiteY4" fmla="*/ 94808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48101" y="94808"/>
                  </a:moveTo>
                  <a:cubicBezTo>
                    <a:pt x="70961" y="93856"/>
                    <a:pt x="89059" y="73853"/>
                    <a:pt x="89059" y="49088"/>
                  </a:cubicBezTo>
                  <a:cubicBezTo>
                    <a:pt x="89059" y="25275"/>
                    <a:pt x="70961" y="6225"/>
                    <a:pt x="48101" y="7178"/>
                  </a:cubicBezTo>
                  <a:cubicBezTo>
                    <a:pt x="25241" y="8131"/>
                    <a:pt x="7144" y="28133"/>
                    <a:pt x="7144" y="52898"/>
                  </a:cubicBezTo>
                  <a:cubicBezTo>
                    <a:pt x="8096" y="76711"/>
                    <a:pt x="26194" y="95761"/>
                    <a:pt x="48101" y="94808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F22E4E1F-DFDD-4EF6-8781-D2EC7D60F89D}"/>
                </a:ext>
              </a:extLst>
            </p:cNvPr>
            <p:cNvSpPr/>
            <p:nvPr/>
          </p:nvSpPr>
          <p:spPr>
            <a:xfrm>
              <a:off x="11384515" y="612775"/>
              <a:ext cx="397182" cy="331893"/>
            </a:xfrm>
            <a:custGeom>
              <a:avLst/>
              <a:gdLst>
                <a:gd name="connsiteX0" fmla="*/ 689134 w 695325"/>
                <a:gd name="connsiteY0" fmla="*/ 368141 h 581025"/>
                <a:gd name="connsiteX1" fmla="*/ 571024 w 695325"/>
                <a:gd name="connsiteY1" fmla="*/ 127159 h 581025"/>
                <a:gd name="connsiteX2" fmla="*/ 388144 w 695325"/>
                <a:gd name="connsiteY2" fmla="*/ 13811 h 581025"/>
                <a:gd name="connsiteX3" fmla="*/ 371951 w 695325"/>
                <a:gd name="connsiteY3" fmla="*/ 7144 h 581025"/>
                <a:gd name="connsiteX4" fmla="*/ 371951 w 695325"/>
                <a:gd name="connsiteY4" fmla="*/ 7144 h 581025"/>
                <a:gd name="connsiteX5" fmla="*/ 371951 w 695325"/>
                <a:gd name="connsiteY5" fmla="*/ 7144 h 581025"/>
                <a:gd name="connsiteX6" fmla="*/ 7144 w 695325"/>
                <a:gd name="connsiteY6" fmla="*/ 383381 h 581025"/>
                <a:gd name="connsiteX7" fmla="*/ 132874 w 695325"/>
                <a:gd name="connsiteY7" fmla="*/ 569119 h 581025"/>
                <a:gd name="connsiteX8" fmla="*/ 262414 w 695325"/>
                <a:gd name="connsiteY8" fmla="*/ 571976 h 581025"/>
                <a:gd name="connsiteX9" fmla="*/ 358616 w 695325"/>
                <a:gd name="connsiteY9" fmla="*/ 506254 h 581025"/>
                <a:gd name="connsiteX10" fmla="*/ 577692 w 695325"/>
                <a:gd name="connsiteY10" fmla="*/ 271939 h 581025"/>
                <a:gd name="connsiteX11" fmla="*/ 690086 w 695325"/>
                <a:gd name="connsiteY11" fmla="*/ 374809 h 581025"/>
                <a:gd name="connsiteX12" fmla="*/ 689134 w 695325"/>
                <a:gd name="connsiteY12" fmla="*/ 368141 h 581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95325" h="581025">
                  <a:moveTo>
                    <a:pt x="689134" y="368141"/>
                  </a:moveTo>
                  <a:cubicBezTo>
                    <a:pt x="687229" y="271939"/>
                    <a:pt x="641509" y="191929"/>
                    <a:pt x="571024" y="127159"/>
                  </a:cubicBezTo>
                  <a:cubicBezTo>
                    <a:pt x="517684" y="78581"/>
                    <a:pt x="453866" y="41434"/>
                    <a:pt x="388144" y="13811"/>
                  </a:cubicBezTo>
                  <a:cubicBezTo>
                    <a:pt x="382429" y="11906"/>
                    <a:pt x="377666" y="9049"/>
                    <a:pt x="371951" y="7144"/>
                  </a:cubicBezTo>
                  <a:lnTo>
                    <a:pt x="371951" y="7144"/>
                  </a:lnTo>
                  <a:cubicBezTo>
                    <a:pt x="371951" y="7144"/>
                    <a:pt x="371951" y="7144"/>
                    <a:pt x="371951" y="7144"/>
                  </a:cubicBezTo>
                  <a:cubicBezTo>
                    <a:pt x="290036" y="105251"/>
                    <a:pt x="7144" y="178594"/>
                    <a:pt x="7144" y="383381"/>
                  </a:cubicBezTo>
                  <a:cubicBezTo>
                    <a:pt x="7144" y="463391"/>
                    <a:pt x="57626" y="538639"/>
                    <a:pt x="132874" y="569119"/>
                  </a:cubicBezTo>
                  <a:cubicBezTo>
                    <a:pt x="175736" y="585311"/>
                    <a:pt x="219551" y="586264"/>
                    <a:pt x="262414" y="571976"/>
                  </a:cubicBezTo>
                  <a:cubicBezTo>
                    <a:pt x="300514" y="559594"/>
                    <a:pt x="332899" y="535781"/>
                    <a:pt x="358616" y="506254"/>
                  </a:cubicBezTo>
                  <a:cubicBezTo>
                    <a:pt x="441484" y="413861"/>
                    <a:pt x="475774" y="271939"/>
                    <a:pt x="577692" y="271939"/>
                  </a:cubicBezTo>
                  <a:cubicBezTo>
                    <a:pt x="671036" y="271939"/>
                    <a:pt x="683419" y="338614"/>
                    <a:pt x="690086" y="374809"/>
                  </a:cubicBezTo>
                  <a:cubicBezTo>
                    <a:pt x="689134" y="373856"/>
                    <a:pt x="689134" y="371951"/>
                    <a:pt x="689134" y="368141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3864049981"/>
      </p:ext>
    </p:extLst>
  </p:cSld>
  <p:clrMapOvr>
    <a:masterClrMapping/>
  </p:clrMapOvr>
  <p:hf hd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CF1D2D-86B1-8A21-1C6A-C542980686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E69E41E-8490-5E99-2ED5-328ABC3017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F57F5C-1F76-4B4C-81E4-8A00A7BD0920}" type="datetimeFigureOut">
              <a:rPr lang="en-US" smtClean="0"/>
              <a:t>5/5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D40D45-B5C9-49C2-16A6-8FF4D2E61E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477AE98-ECC3-365F-CE40-E44374384B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2636A9-88B7-4A0E-BC76-99EBF81887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30221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slideLayout" Target="../slideLayouts/slideLayout23.xml"/><Relationship Id="rId18" Type="http://schemas.openxmlformats.org/officeDocument/2006/relationships/image" Target="../media/image9.emf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2.xml"/><Relationship Id="rId17" Type="http://schemas.openxmlformats.org/officeDocument/2006/relationships/oleObject" Target="../embeddings/oleObject2.bin"/><Relationship Id="rId2" Type="http://schemas.openxmlformats.org/officeDocument/2006/relationships/slideLayout" Target="../slideLayouts/slideLayout12.xml"/><Relationship Id="rId16" Type="http://schemas.openxmlformats.org/officeDocument/2006/relationships/tags" Target="../tags/tag4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5" Type="http://schemas.openxmlformats.org/officeDocument/2006/relationships/slideLayout" Target="../slideLayouts/slideLayout15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2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04814" y="0"/>
            <a:ext cx="10947772" cy="71671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/>
              <a:t>CLICK TO INSERT TITLE</a:t>
            </a:r>
            <a:endParaRPr lang="en-US"/>
          </a:p>
        </p:txBody>
      </p:sp>
      <p:sp>
        <p:nvSpPr>
          <p:cNvPr id="4" name="Text Placeholder 1"/>
          <p:cNvSpPr>
            <a:spLocks noGrp="1"/>
          </p:cNvSpPr>
          <p:nvPr>
            <p:ph type="body" idx="1"/>
          </p:nvPr>
        </p:nvSpPr>
        <p:spPr>
          <a:xfrm>
            <a:off x="404813" y="1327151"/>
            <a:ext cx="11376880" cy="51355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grpSp>
        <p:nvGrpSpPr>
          <p:cNvPr id="94" name="Groupe 1">
            <a:extLst>
              <a:ext uri="{FF2B5EF4-FFF2-40B4-BE49-F238E27FC236}">
                <a16:creationId xmlns:a16="http://schemas.microsoft.com/office/drawing/2014/main" id="{11A3E882-4152-49CC-A658-0BA2BD4CCF4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562163" y="205059"/>
            <a:ext cx="419436" cy="388988"/>
            <a:chOff x="11501102" y="171573"/>
            <a:chExt cx="419436" cy="388988"/>
          </a:xfrm>
        </p:grpSpPr>
        <p:sp>
          <p:nvSpPr>
            <p:cNvPr id="95" name="Freeform 13">
              <a:extLst>
                <a:ext uri="{FF2B5EF4-FFF2-40B4-BE49-F238E27FC236}">
                  <a16:creationId xmlns:a16="http://schemas.microsoft.com/office/drawing/2014/main" id="{7962C740-AA7F-4225-AF45-30CEC5D8574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/>
            </a:p>
          </p:txBody>
        </p:sp>
        <p:sp>
          <p:nvSpPr>
            <p:cNvPr id="96" name="Freeform 14">
              <a:extLst>
                <a:ext uri="{FF2B5EF4-FFF2-40B4-BE49-F238E27FC236}">
                  <a16:creationId xmlns:a16="http://schemas.microsoft.com/office/drawing/2014/main" id="{8B6BE8F3-0248-42CC-8053-5B10FA1A64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/>
            </a:p>
          </p:txBody>
        </p:sp>
      </p:grpSp>
      <p:sp>
        <p:nvSpPr>
          <p:cNvPr id="98" name="Rectangle 27">
            <a:extLst>
              <a:ext uri="{FF2B5EF4-FFF2-40B4-BE49-F238E27FC236}">
                <a16:creationId xmlns:a16="http://schemas.microsoft.com/office/drawing/2014/main" id="{B1133F59-1301-4D8F-A396-71B6A669F37A}"/>
              </a:ext>
            </a:extLst>
          </p:cNvPr>
          <p:cNvSpPr/>
          <p:nvPr userDrawn="1"/>
        </p:nvSpPr>
        <p:spPr>
          <a:xfrm>
            <a:off x="404814" y="6517871"/>
            <a:ext cx="341084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0">
                <a:solidFill>
                  <a:srgbClr val="A6A6A6"/>
                </a:solidFill>
                <a:latin typeface="Ubuntu" panose="020B0504030602030204" pitchFamily="34" charset="0"/>
                <a:cs typeface="Arial" panose="020B0604020202020204" pitchFamily="34" charset="0"/>
              </a:rPr>
              <a:t>Capgemini </a:t>
            </a:r>
            <a:r>
              <a:rPr lang="en-US" sz="700" kern="0" err="1">
                <a:solidFill>
                  <a:srgbClr val="A6A6A6"/>
                </a:solidFill>
                <a:latin typeface="Ubuntu" panose="020B0504030602030204" pitchFamily="34" charset="0"/>
                <a:cs typeface="Arial" panose="020B0604020202020204" pitchFamily="34" charset="0"/>
              </a:rPr>
              <a:t>DevSecOps</a:t>
            </a:r>
            <a:r>
              <a:rPr lang="en-US" sz="700" kern="0">
                <a:solidFill>
                  <a:srgbClr val="A6A6A6"/>
                </a:solidFill>
                <a:latin typeface="Ubuntu" panose="020B0504030602030204" pitchFamily="34" charset="0"/>
                <a:cs typeface="Arial" panose="020B0604020202020204" pitchFamily="34" charset="0"/>
              </a:rPr>
              <a:t> | 2024</a:t>
            </a:r>
          </a:p>
        </p:txBody>
      </p:sp>
      <p:sp>
        <p:nvSpPr>
          <p:cNvPr id="99" name="Rectangle 43">
            <a:extLst>
              <a:ext uri="{FF2B5EF4-FFF2-40B4-BE49-F238E27FC236}">
                <a16:creationId xmlns:a16="http://schemas.microsoft.com/office/drawing/2014/main" id="{1302EB1D-4F45-4228-A725-9CA0AEFCE017}"/>
              </a:ext>
            </a:extLst>
          </p:cNvPr>
          <p:cNvSpPr/>
          <p:nvPr userDrawn="1"/>
        </p:nvSpPr>
        <p:spPr>
          <a:xfrm>
            <a:off x="11744130" y="6517657"/>
            <a:ext cx="229263" cy="215444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rgbClr val="A6A6A6"/>
                </a:solidFill>
                <a:latin typeface="Ubuntu" panose="020B0504030602030204" pitchFamily="34" charset="0"/>
                <a:cs typeface="Arial" panose="020B0604020202020204" pitchFamily="34" charset="0"/>
              </a:rPr>
              <a:pPr algn="r"/>
              <a:t>‹#›</a:t>
            </a:fld>
            <a:endParaRPr lang="en-US" sz="800">
              <a:solidFill>
                <a:srgbClr val="A6A6A6"/>
              </a:solidFill>
              <a:latin typeface="Ubuntu" panose="020B0504030602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90031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1" r:id="rId8"/>
    <p:sldLayoutId id="2147483750" r:id="rId9"/>
    <p:sldLayoutId id="2147483752" r:id="rId10"/>
  </p:sldLayoutIdLst>
  <p:hf hdr="0"/>
  <p:txStyles>
    <p:titleStyle>
      <a:lvl1pPr marL="0" marR="0" indent="0" algn="l" defTabSz="914377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2600" b="0" i="0" u="none" strike="noStrike" kern="1200" cap="all" spc="0" normalizeH="0" baseline="0" noProof="0" dirty="0">
          <a:ln>
            <a:noFill/>
          </a:ln>
          <a:solidFill>
            <a:schemeClr val="accent4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177796" indent="-177796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361942" indent="-184146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anose="020B0604020202020204" pitchFamily="34" charset="0"/>
        <a:buChar char="•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539737" indent="-177796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/>
        </a:buClr>
        <a:buFont typeface="Ubuntu" panose="020B0504030602030204" pitchFamily="34" charset="0"/>
        <a:buChar char="–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717533" indent="-177796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Arial" panose="020B0604020202020204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10" pos="7423">
          <p15:clr>
            <a:srgbClr val="F26B43"/>
          </p15:clr>
        </p15:guide>
        <p15:guide id="11" orient="horz" pos="4071">
          <p15:clr>
            <a:srgbClr val="F26B43"/>
          </p15:clr>
        </p15:guide>
        <p15:guide id="12" pos="255">
          <p15:clr>
            <a:srgbClr val="F26B43"/>
          </p15:clr>
        </p15:guide>
        <p15:guide id="13" orient="horz" pos="836">
          <p15:clr>
            <a:srgbClr val="F26B43"/>
          </p15:clr>
        </p15:guide>
        <p15:guide id="14" orient="horz" pos="245">
          <p15:clr>
            <a:srgbClr val="F26B43"/>
          </p15:clr>
        </p15:guide>
        <p15:guide id="15" pos="3840">
          <p15:clr>
            <a:srgbClr val="F26B43"/>
          </p15:clr>
        </p15:guide>
        <p15:guide id="16" pos="3899">
          <p15:clr>
            <a:srgbClr val="F26B43"/>
          </p15:clr>
        </p15:guide>
        <p15:guide id="17" pos="378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27293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6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1"/>
          <p:cNvSpPr>
            <a:spLocks noGrp="1"/>
          </p:cNvSpPr>
          <p:nvPr>
            <p:ph type="body" idx="1"/>
          </p:nvPr>
        </p:nvSpPr>
        <p:spPr>
          <a:xfrm>
            <a:off x="404813" y="1327150"/>
            <a:ext cx="11376880" cy="51355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04813" y="388188"/>
            <a:ext cx="10947772" cy="71671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/>
              <a:t>CLICK TO INSERT TITLE</a:t>
            </a:r>
            <a:endParaRPr lang="en-US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D254FA0-1CD0-4186-9223-F354145FAE6C}"/>
              </a:ext>
            </a:extLst>
          </p:cNvPr>
          <p:cNvGrpSpPr/>
          <p:nvPr userDrawn="1"/>
        </p:nvGrpSpPr>
        <p:grpSpPr>
          <a:xfrm>
            <a:off x="12295891" y="1659"/>
            <a:ext cx="360000" cy="2069166"/>
            <a:chOff x="12498114" y="115959"/>
            <a:chExt cx="360000" cy="2069166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EF1244FD-1856-4971-9A73-AD6DF3F42A90}"/>
                </a:ext>
              </a:extLst>
            </p:cNvPr>
            <p:cNvSpPr/>
            <p:nvPr/>
          </p:nvSpPr>
          <p:spPr>
            <a:xfrm>
              <a:off x="12498114" y="115959"/>
              <a:ext cx="360000" cy="406800"/>
            </a:xfrm>
            <a:prstGeom prst="rect">
              <a:avLst/>
            </a:prstGeom>
            <a:solidFill>
              <a:srgbClr val="0070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GB" sz="700">
                  <a:latin typeface="Ubuntu" panose="020B0504030602030204" pitchFamily="34" charset="0"/>
                </a:rPr>
                <a:t>1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GB" sz="700">
                  <a:latin typeface="Ubuntu" panose="020B0504030602030204" pitchFamily="34" charset="0"/>
                </a:rPr>
                <a:t>112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GB" sz="700">
                  <a:latin typeface="Ubuntu" panose="020B0504030602030204" pitchFamily="34" charset="0"/>
                </a:rPr>
                <a:t>173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22B40C78-6F20-4C95-AB26-B29FEC0FF747}"/>
                </a:ext>
              </a:extLst>
            </p:cNvPr>
            <p:cNvSpPr/>
            <p:nvPr/>
          </p:nvSpPr>
          <p:spPr>
            <a:xfrm>
              <a:off x="12498114" y="533371"/>
              <a:ext cx="360000" cy="4068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GB" sz="700">
                  <a:solidFill>
                    <a:schemeClr val="tx1"/>
                  </a:solidFill>
                  <a:latin typeface="Ubuntu" panose="020B0504030602030204" pitchFamily="34" charset="0"/>
                </a:rPr>
                <a:t>18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GB" sz="700">
                  <a:solidFill>
                    <a:schemeClr val="tx1"/>
                  </a:solidFill>
                  <a:latin typeface="Ubuntu" panose="020B0504030602030204" pitchFamily="34" charset="0"/>
                </a:rPr>
                <a:t>171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GB" sz="700">
                  <a:solidFill>
                    <a:schemeClr val="tx1"/>
                  </a:solidFill>
                  <a:latin typeface="Ubuntu" panose="020B0504030602030204" pitchFamily="34" charset="0"/>
                </a:rPr>
                <a:t>219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1AED4E7D-39CE-49AE-9D4C-16EA940CBE5F}"/>
                </a:ext>
              </a:extLst>
            </p:cNvPr>
            <p:cNvSpPr/>
            <p:nvPr/>
          </p:nvSpPr>
          <p:spPr>
            <a:xfrm>
              <a:off x="12498114" y="950783"/>
              <a:ext cx="360000" cy="406800"/>
            </a:xfrm>
            <a:prstGeom prst="rect">
              <a:avLst/>
            </a:prstGeom>
            <a:solidFill>
              <a:srgbClr val="2B0A3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GB" sz="700">
                  <a:latin typeface="Ubuntu" panose="020B0504030602030204" pitchFamily="34" charset="0"/>
                </a:rPr>
                <a:t>43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GB" sz="700">
                  <a:latin typeface="Ubuntu" panose="020B0504030602030204" pitchFamily="34" charset="0"/>
                </a:rPr>
                <a:t>10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GB" sz="700">
                  <a:latin typeface="Ubuntu" panose="020B0504030602030204" pitchFamily="34" charset="0"/>
                </a:rPr>
                <a:t>61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392DC803-B0F7-4D0E-81CA-9DDCB14FA42C}"/>
                </a:ext>
              </a:extLst>
            </p:cNvPr>
            <p:cNvSpPr/>
            <p:nvPr/>
          </p:nvSpPr>
          <p:spPr>
            <a:xfrm>
              <a:off x="12498114" y="1364202"/>
              <a:ext cx="360000" cy="4068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GB" sz="700">
                  <a:latin typeface="Ubuntu" panose="020B0504030602030204" pitchFamily="34" charset="0"/>
                </a:rPr>
                <a:t>39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GB" sz="700">
                  <a:latin typeface="Ubuntu" panose="020B0504030602030204" pitchFamily="34" charset="0"/>
                </a:rPr>
                <a:t>41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GB" sz="700">
                  <a:latin typeface="Ubuntu" panose="020B0504030602030204" pitchFamily="34" charset="0"/>
                </a:rPr>
                <a:t>54</a:t>
              </a: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B60470E2-9B98-4C49-AC1B-A56CD2EB54B9}"/>
                </a:ext>
              </a:extLst>
            </p:cNvPr>
            <p:cNvSpPr/>
            <p:nvPr/>
          </p:nvSpPr>
          <p:spPr>
            <a:xfrm>
              <a:off x="12498114" y="1778325"/>
              <a:ext cx="360000" cy="406800"/>
            </a:xfrm>
            <a:prstGeom prst="rect">
              <a:avLst/>
            </a:prstGeom>
            <a:solidFill>
              <a:schemeClr val="bg2"/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GB" sz="700">
                  <a:solidFill>
                    <a:schemeClr val="tx1"/>
                  </a:solidFill>
                  <a:latin typeface="Ubuntu" panose="020B0504030602030204" pitchFamily="34" charset="0"/>
                </a:rPr>
                <a:t>236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GB" sz="700">
                  <a:solidFill>
                    <a:schemeClr val="tx1"/>
                  </a:solidFill>
                  <a:latin typeface="Ubuntu" panose="020B0504030602030204" pitchFamily="34" charset="0"/>
                </a:rPr>
                <a:t>236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GB" sz="700">
                  <a:solidFill>
                    <a:schemeClr val="tx1"/>
                  </a:solidFill>
                  <a:latin typeface="Ubuntu" panose="020B0504030602030204" pitchFamily="34" charset="0"/>
                </a:rPr>
                <a:t>236</a:t>
              </a:r>
            </a:p>
          </p:txBody>
        </p:sp>
      </p:grpSp>
      <p:grpSp>
        <p:nvGrpSpPr>
          <p:cNvPr id="4096" name="Groupe 4095">
            <a:extLst>
              <a:ext uri="{FF2B5EF4-FFF2-40B4-BE49-F238E27FC236}">
                <a16:creationId xmlns:a16="http://schemas.microsoft.com/office/drawing/2014/main" id="{4ADC82C4-641D-4930-B946-DC8978F5F98C}"/>
              </a:ext>
            </a:extLst>
          </p:cNvPr>
          <p:cNvGrpSpPr/>
          <p:nvPr/>
        </p:nvGrpSpPr>
        <p:grpSpPr>
          <a:xfrm>
            <a:off x="12295891" y="4289244"/>
            <a:ext cx="1462993" cy="2058800"/>
            <a:chOff x="12432704" y="1992581"/>
            <a:chExt cx="1462993" cy="2058800"/>
          </a:xfrm>
        </p:grpSpPr>
        <p:sp>
          <p:nvSpPr>
            <p:cNvPr id="41" name="Forme libre : forme 40">
              <a:extLst>
                <a:ext uri="{FF2B5EF4-FFF2-40B4-BE49-F238E27FC236}">
                  <a16:creationId xmlns:a16="http://schemas.microsoft.com/office/drawing/2014/main" id="{EC826880-5A3C-4E1C-81B2-A1CB9E331DC3}"/>
                </a:ext>
              </a:extLst>
            </p:cNvPr>
            <p:cNvSpPr/>
            <p:nvPr/>
          </p:nvSpPr>
          <p:spPr>
            <a:xfrm>
              <a:off x="12800391" y="3644581"/>
              <a:ext cx="360000" cy="406800"/>
            </a:xfrm>
            <a:custGeom>
              <a:avLst/>
              <a:gdLst>
                <a:gd name="connsiteX0" fmla="*/ 0 w 1111406"/>
                <a:gd name="connsiteY0" fmla="*/ 0 h 776645"/>
                <a:gd name="connsiteX1" fmla="*/ 1111407 w 1111406"/>
                <a:gd name="connsiteY1" fmla="*/ 0 h 776645"/>
                <a:gd name="connsiteX2" fmla="*/ 1111407 w 1111406"/>
                <a:gd name="connsiteY2" fmla="*/ 776646 h 776645"/>
                <a:gd name="connsiteX3" fmla="*/ 0 w 1111406"/>
                <a:gd name="connsiteY3" fmla="*/ 776646 h 776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11406" h="776645">
                  <a:moveTo>
                    <a:pt x="0" y="0"/>
                  </a:moveTo>
                  <a:lnTo>
                    <a:pt x="1111407" y="0"/>
                  </a:lnTo>
                  <a:lnTo>
                    <a:pt x="1111407" y="776646"/>
                  </a:lnTo>
                  <a:lnTo>
                    <a:pt x="0" y="776646"/>
                  </a:lnTo>
                  <a:close/>
                </a:path>
              </a:pathLst>
            </a:custGeom>
            <a:solidFill>
              <a:srgbClr val="FF8E12"/>
            </a:solidFill>
            <a:ln w="66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>
                  <a:latin typeface="Ubuntu" panose="020B0504030602030204" pitchFamily="34" charset="0"/>
                </a:rPr>
                <a:t>255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>
                  <a:latin typeface="Ubuntu" panose="020B0504030602030204" pitchFamily="34" charset="0"/>
                </a:rPr>
                <a:t>142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>
                  <a:latin typeface="Ubuntu" panose="020B0504030602030204" pitchFamily="34" charset="0"/>
                </a:rPr>
                <a:t>18</a:t>
              </a:r>
            </a:p>
          </p:txBody>
        </p:sp>
        <p:sp>
          <p:nvSpPr>
            <p:cNvPr id="42" name="Forme libre : forme 41">
              <a:extLst>
                <a:ext uri="{FF2B5EF4-FFF2-40B4-BE49-F238E27FC236}">
                  <a16:creationId xmlns:a16="http://schemas.microsoft.com/office/drawing/2014/main" id="{44796AC3-FBF9-498C-9326-20ACFCF63EE6}"/>
                </a:ext>
              </a:extLst>
            </p:cNvPr>
            <p:cNvSpPr/>
            <p:nvPr/>
          </p:nvSpPr>
          <p:spPr>
            <a:xfrm>
              <a:off x="12800391" y="3231581"/>
              <a:ext cx="360000" cy="406800"/>
            </a:xfrm>
            <a:custGeom>
              <a:avLst/>
              <a:gdLst>
                <a:gd name="connsiteX0" fmla="*/ 0 w 1111406"/>
                <a:gd name="connsiteY0" fmla="*/ 0 h 776645"/>
                <a:gd name="connsiteX1" fmla="*/ 1111407 w 1111406"/>
                <a:gd name="connsiteY1" fmla="*/ 0 h 776645"/>
                <a:gd name="connsiteX2" fmla="*/ 1111407 w 1111406"/>
                <a:gd name="connsiteY2" fmla="*/ 776646 h 776645"/>
                <a:gd name="connsiteX3" fmla="*/ 0 w 1111406"/>
                <a:gd name="connsiteY3" fmla="*/ 776646 h 776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11406" h="776645">
                  <a:moveTo>
                    <a:pt x="0" y="0"/>
                  </a:moveTo>
                  <a:lnTo>
                    <a:pt x="1111407" y="0"/>
                  </a:lnTo>
                  <a:lnTo>
                    <a:pt x="1111407" y="776646"/>
                  </a:lnTo>
                  <a:lnTo>
                    <a:pt x="0" y="776646"/>
                  </a:lnTo>
                  <a:close/>
                </a:path>
              </a:pathLst>
            </a:custGeom>
            <a:solidFill>
              <a:srgbClr val="FF9C29"/>
            </a:solidFill>
            <a:ln w="66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>
                  <a:latin typeface="Ubuntu" panose="020B0504030602030204" pitchFamily="34" charset="0"/>
                </a:rPr>
                <a:t>255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>
                  <a:latin typeface="Ubuntu" panose="020B0504030602030204" pitchFamily="34" charset="0"/>
                </a:rPr>
                <a:t>156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>
                  <a:latin typeface="Ubuntu" panose="020B0504030602030204" pitchFamily="34" charset="0"/>
                </a:rPr>
                <a:t>41</a:t>
              </a:r>
            </a:p>
          </p:txBody>
        </p:sp>
        <p:sp>
          <p:nvSpPr>
            <p:cNvPr id="43" name="Forme libre : forme 42">
              <a:extLst>
                <a:ext uri="{FF2B5EF4-FFF2-40B4-BE49-F238E27FC236}">
                  <a16:creationId xmlns:a16="http://schemas.microsoft.com/office/drawing/2014/main" id="{2D1DB5D7-2017-4A8F-80D6-C8641C9CE84C}"/>
                </a:ext>
              </a:extLst>
            </p:cNvPr>
            <p:cNvSpPr/>
            <p:nvPr/>
          </p:nvSpPr>
          <p:spPr>
            <a:xfrm>
              <a:off x="12800391" y="2818581"/>
              <a:ext cx="360000" cy="406800"/>
            </a:xfrm>
            <a:custGeom>
              <a:avLst/>
              <a:gdLst>
                <a:gd name="connsiteX0" fmla="*/ 0 w 1111406"/>
                <a:gd name="connsiteY0" fmla="*/ 0 h 1111407"/>
                <a:gd name="connsiteX1" fmla="*/ 1111407 w 1111406"/>
                <a:gd name="connsiteY1" fmla="*/ 0 h 1111407"/>
                <a:gd name="connsiteX2" fmla="*/ 1111407 w 1111406"/>
                <a:gd name="connsiteY2" fmla="*/ 1111407 h 1111407"/>
                <a:gd name="connsiteX3" fmla="*/ 0 w 1111406"/>
                <a:gd name="connsiteY3" fmla="*/ 1111407 h 11114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11406" h="1111407">
                  <a:moveTo>
                    <a:pt x="0" y="0"/>
                  </a:moveTo>
                  <a:lnTo>
                    <a:pt x="1111407" y="0"/>
                  </a:lnTo>
                  <a:lnTo>
                    <a:pt x="1111407" y="1111407"/>
                  </a:lnTo>
                  <a:lnTo>
                    <a:pt x="0" y="1111407"/>
                  </a:lnTo>
                  <a:close/>
                </a:path>
              </a:pathLst>
            </a:custGeom>
            <a:solidFill>
              <a:srgbClr val="FFB24A"/>
            </a:solidFill>
            <a:ln w="66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>
                  <a:latin typeface="Ubuntu" panose="020B0504030602030204" pitchFamily="34" charset="0"/>
                </a:rPr>
                <a:t>255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>
                  <a:latin typeface="Ubuntu" panose="020B0504030602030204" pitchFamily="34" charset="0"/>
                </a:rPr>
                <a:t>178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>
                  <a:latin typeface="Ubuntu" panose="020B0504030602030204" pitchFamily="34" charset="0"/>
                </a:rPr>
                <a:t>74</a:t>
              </a:r>
            </a:p>
          </p:txBody>
        </p:sp>
        <p:sp>
          <p:nvSpPr>
            <p:cNvPr id="44" name="Forme libre : forme 43">
              <a:extLst>
                <a:ext uri="{FF2B5EF4-FFF2-40B4-BE49-F238E27FC236}">
                  <a16:creationId xmlns:a16="http://schemas.microsoft.com/office/drawing/2014/main" id="{92191BDF-6BAB-45F9-9FA1-89C34179FD61}"/>
                </a:ext>
              </a:extLst>
            </p:cNvPr>
            <p:cNvSpPr/>
            <p:nvPr/>
          </p:nvSpPr>
          <p:spPr>
            <a:xfrm>
              <a:off x="12800391" y="2405581"/>
              <a:ext cx="360000" cy="406800"/>
            </a:xfrm>
            <a:custGeom>
              <a:avLst/>
              <a:gdLst>
                <a:gd name="connsiteX0" fmla="*/ 0 w 1111406"/>
                <a:gd name="connsiteY0" fmla="*/ 0 h 776645"/>
                <a:gd name="connsiteX1" fmla="*/ 1111407 w 1111406"/>
                <a:gd name="connsiteY1" fmla="*/ 0 h 776645"/>
                <a:gd name="connsiteX2" fmla="*/ 1111407 w 1111406"/>
                <a:gd name="connsiteY2" fmla="*/ 776646 h 776645"/>
                <a:gd name="connsiteX3" fmla="*/ 0 w 1111406"/>
                <a:gd name="connsiteY3" fmla="*/ 776646 h 776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11406" h="776645">
                  <a:moveTo>
                    <a:pt x="0" y="0"/>
                  </a:moveTo>
                  <a:lnTo>
                    <a:pt x="1111407" y="0"/>
                  </a:lnTo>
                  <a:lnTo>
                    <a:pt x="1111407" y="776646"/>
                  </a:lnTo>
                  <a:lnTo>
                    <a:pt x="0" y="776646"/>
                  </a:lnTo>
                  <a:close/>
                </a:path>
              </a:pathLst>
            </a:custGeom>
            <a:solidFill>
              <a:srgbClr val="FFD068"/>
            </a:solidFill>
            <a:ln w="66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>
                  <a:latin typeface="Ubuntu" panose="020B0504030602030204" pitchFamily="34" charset="0"/>
                </a:rPr>
                <a:t>255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>
                  <a:latin typeface="Ubuntu" panose="020B0504030602030204" pitchFamily="34" charset="0"/>
                </a:rPr>
                <a:t>208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>
                  <a:latin typeface="Ubuntu" panose="020B0504030602030204" pitchFamily="34" charset="0"/>
                </a:rPr>
                <a:t>104</a:t>
              </a:r>
            </a:p>
          </p:txBody>
        </p:sp>
        <p:sp>
          <p:nvSpPr>
            <p:cNvPr id="45" name="Forme libre : forme 44">
              <a:extLst>
                <a:ext uri="{FF2B5EF4-FFF2-40B4-BE49-F238E27FC236}">
                  <a16:creationId xmlns:a16="http://schemas.microsoft.com/office/drawing/2014/main" id="{EF971F25-4035-43BA-BC8C-22E9B837A713}"/>
                </a:ext>
              </a:extLst>
            </p:cNvPr>
            <p:cNvSpPr/>
            <p:nvPr/>
          </p:nvSpPr>
          <p:spPr>
            <a:xfrm>
              <a:off x="12800391" y="1992581"/>
              <a:ext cx="360000" cy="406800"/>
            </a:xfrm>
            <a:custGeom>
              <a:avLst/>
              <a:gdLst>
                <a:gd name="connsiteX0" fmla="*/ 0 w 1111406"/>
                <a:gd name="connsiteY0" fmla="*/ 0 h 776645"/>
                <a:gd name="connsiteX1" fmla="*/ 1111407 w 1111406"/>
                <a:gd name="connsiteY1" fmla="*/ 0 h 776645"/>
                <a:gd name="connsiteX2" fmla="*/ 1111407 w 1111406"/>
                <a:gd name="connsiteY2" fmla="*/ 776646 h 776645"/>
                <a:gd name="connsiteX3" fmla="*/ 0 w 1111406"/>
                <a:gd name="connsiteY3" fmla="*/ 776646 h 776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11406" h="776645">
                  <a:moveTo>
                    <a:pt x="0" y="0"/>
                  </a:moveTo>
                  <a:lnTo>
                    <a:pt x="1111407" y="0"/>
                  </a:lnTo>
                  <a:lnTo>
                    <a:pt x="1111407" y="776646"/>
                  </a:lnTo>
                  <a:lnTo>
                    <a:pt x="0" y="776646"/>
                  </a:lnTo>
                  <a:close/>
                </a:path>
              </a:pathLst>
            </a:custGeom>
            <a:solidFill>
              <a:srgbClr val="FFDA80"/>
            </a:solidFill>
            <a:ln w="66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>
                  <a:latin typeface="Ubuntu" panose="020B0504030602030204" pitchFamily="34" charset="0"/>
                </a:rPr>
                <a:t>255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>
                  <a:latin typeface="Ubuntu" panose="020B0504030602030204" pitchFamily="34" charset="0"/>
                </a:rPr>
                <a:t>218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>
                  <a:latin typeface="Ubuntu" panose="020B0504030602030204" pitchFamily="34" charset="0"/>
                </a:rPr>
                <a:t>128</a:t>
              </a:r>
            </a:p>
          </p:txBody>
        </p:sp>
        <p:sp>
          <p:nvSpPr>
            <p:cNvPr id="46" name="Forme libre : forme 45">
              <a:extLst>
                <a:ext uri="{FF2B5EF4-FFF2-40B4-BE49-F238E27FC236}">
                  <a16:creationId xmlns:a16="http://schemas.microsoft.com/office/drawing/2014/main" id="{F5691FCB-A410-4C6B-963D-15CCFA8EB678}"/>
                </a:ext>
              </a:extLst>
            </p:cNvPr>
            <p:cNvSpPr/>
            <p:nvPr/>
          </p:nvSpPr>
          <p:spPr>
            <a:xfrm>
              <a:off x="13168875" y="3644581"/>
              <a:ext cx="360000" cy="406800"/>
            </a:xfrm>
            <a:custGeom>
              <a:avLst/>
              <a:gdLst>
                <a:gd name="connsiteX0" fmla="*/ 0 w 1111406"/>
                <a:gd name="connsiteY0" fmla="*/ 0 h 776645"/>
                <a:gd name="connsiteX1" fmla="*/ 1111407 w 1111406"/>
                <a:gd name="connsiteY1" fmla="*/ 0 h 776645"/>
                <a:gd name="connsiteX2" fmla="*/ 1111407 w 1111406"/>
                <a:gd name="connsiteY2" fmla="*/ 776646 h 776645"/>
                <a:gd name="connsiteX3" fmla="*/ 0 w 1111406"/>
                <a:gd name="connsiteY3" fmla="*/ 776646 h 776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11406" h="776645">
                  <a:moveTo>
                    <a:pt x="0" y="0"/>
                  </a:moveTo>
                  <a:lnTo>
                    <a:pt x="1111407" y="0"/>
                  </a:lnTo>
                  <a:lnTo>
                    <a:pt x="1111407" y="776646"/>
                  </a:lnTo>
                  <a:lnTo>
                    <a:pt x="0" y="776646"/>
                  </a:lnTo>
                  <a:close/>
                </a:path>
              </a:pathLst>
            </a:custGeom>
            <a:solidFill>
              <a:srgbClr val="42142E"/>
            </a:solidFill>
            <a:ln w="66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>
                  <a:solidFill>
                    <a:schemeClr val="bg1"/>
                  </a:solidFill>
                  <a:latin typeface="Ubuntu" panose="020B0504030602030204" pitchFamily="34" charset="0"/>
                </a:rPr>
                <a:t>66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>
                  <a:solidFill>
                    <a:schemeClr val="bg1"/>
                  </a:solidFill>
                  <a:latin typeface="Ubuntu" panose="020B0504030602030204" pitchFamily="34" charset="0"/>
                </a:rPr>
                <a:t>20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>
                  <a:solidFill>
                    <a:schemeClr val="bg1"/>
                  </a:solidFill>
                  <a:latin typeface="Ubuntu" panose="020B0504030602030204" pitchFamily="34" charset="0"/>
                </a:rPr>
                <a:t>46</a:t>
              </a:r>
            </a:p>
          </p:txBody>
        </p:sp>
        <p:sp>
          <p:nvSpPr>
            <p:cNvPr id="47" name="Forme libre : forme 46">
              <a:extLst>
                <a:ext uri="{FF2B5EF4-FFF2-40B4-BE49-F238E27FC236}">
                  <a16:creationId xmlns:a16="http://schemas.microsoft.com/office/drawing/2014/main" id="{D0F79893-1FFE-4F7F-B020-867CE988C67E}"/>
                </a:ext>
              </a:extLst>
            </p:cNvPr>
            <p:cNvSpPr/>
            <p:nvPr/>
          </p:nvSpPr>
          <p:spPr>
            <a:xfrm>
              <a:off x="13168875" y="3231581"/>
              <a:ext cx="360000" cy="406800"/>
            </a:xfrm>
            <a:custGeom>
              <a:avLst/>
              <a:gdLst>
                <a:gd name="connsiteX0" fmla="*/ 0 w 1111406"/>
                <a:gd name="connsiteY0" fmla="*/ 0 h 776645"/>
                <a:gd name="connsiteX1" fmla="*/ 1111407 w 1111406"/>
                <a:gd name="connsiteY1" fmla="*/ 0 h 776645"/>
                <a:gd name="connsiteX2" fmla="*/ 1111407 w 1111406"/>
                <a:gd name="connsiteY2" fmla="*/ 776646 h 776645"/>
                <a:gd name="connsiteX3" fmla="*/ 0 w 1111406"/>
                <a:gd name="connsiteY3" fmla="*/ 776646 h 776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11406" h="776645">
                  <a:moveTo>
                    <a:pt x="0" y="0"/>
                  </a:moveTo>
                  <a:lnTo>
                    <a:pt x="1111407" y="0"/>
                  </a:lnTo>
                  <a:lnTo>
                    <a:pt x="1111407" y="776646"/>
                  </a:lnTo>
                  <a:lnTo>
                    <a:pt x="0" y="776646"/>
                  </a:lnTo>
                  <a:close/>
                </a:path>
              </a:pathLst>
            </a:custGeom>
            <a:solidFill>
              <a:srgbClr val="590A42"/>
            </a:solidFill>
            <a:ln w="66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>
                  <a:solidFill>
                    <a:schemeClr val="bg1"/>
                  </a:solidFill>
                  <a:latin typeface="Ubuntu" panose="020B0504030602030204" pitchFamily="34" charset="0"/>
                </a:rPr>
                <a:t>89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>
                  <a:solidFill>
                    <a:schemeClr val="bg1"/>
                  </a:solidFill>
                  <a:latin typeface="Ubuntu" panose="020B0504030602030204" pitchFamily="34" charset="0"/>
                </a:rPr>
                <a:t>10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>
                  <a:solidFill>
                    <a:schemeClr val="bg1"/>
                  </a:solidFill>
                  <a:latin typeface="Ubuntu" panose="020B0504030602030204" pitchFamily="34" charset="0"/>
                </a:rPr>
                <a:t>66</a:t>
              </a:r>
            </a:p>
          </p:txBody>
        </p:sp>
        <p:sp>
          <p:nvSpPr>
            <p:cNvPr id="48" name="Forme libre : forme 47">
              <a:extLst>
                <a:ext uri="{FF2B5EF4-FFF2-40B4-BE49-F238E27FC236}">
                  <a16:creationId xmlns:a16="http://schemas.microsoft.com/office/drawing/2014/main" id="{4BC28B06-4332-436B-9E8F-27299D73CB0F}"/>
                </a:ext>
              </a:extLst>
            </p:cNvPr>
            <p:cNvSpPr/>
            <p:nvPr/>
          </p:nvSpPr>
          <p:spPr>
            <a:xfrm>
              <a:off x="13168875" y="2818581"/>
              <a:ext cx="360000" cy="406800"/>
            </a:xfrm>
            <a:custGeom>
              <a:avLst/>
              <a:gdLst>
                <a:gd name="connsiteX0" fmla="*/ 0 w 1111406"/>
                <a:gd name="connsiteY0" fmla="*/ 0 h 1111407"/>
                <a:gd name="connsiteX1" fmla="*/ 1111407 w 1111406"/>
                <a:gd name="connsiteY1" fmla="*/ 0 h 1111407"/>
                <a:gd name="connsiteX2" fmla="*/ 1111407 w 1111406"/>
                <a:gd name="connsiteY2" fmla="*/ 1111407 h 1111407"/>
                <a:gd name="connsiteX3" fmla="*/ 0 w 1111406"/>
                <a:gd name="connsiteY3" fmla="*/ 1111407 h 11114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11406" h="1111407">
                  <a:moveTo>
                    <a:pt x="0" y="0"/>
                  </a:moveTo>
                  <a:lnTo>
                    <a:pt x="1111407" y="0"/>
                  </a:lnTo>
                  <a:lnTo>
                    <a:pt x="1111407" y="1111407"/>
                  </a:lnTo>
                  <a:lnTo>
                    <a:pt x="0" y="1111407"/>
                  </a:lnTo>
                  <a:close/>
                </a:path>
              </a:pathLst>
            </a:custGeom>
            <a:solidFill>
              <a:srgbClr val="750D5C"/>
            </a:solidFill>
            <a:ln w="66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>
                  <a:solidFill>
                    <a:schemeClr val="bg1"/>
                  </a:solidFill>
                  <a:latin typeface="Ubuntu" panose="020B0504030602030204" pitchFamily="34" charset="0"/>
                </a:rPr>
                <a:t>117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>
                  <a:solidFill>
                    <a:schemeClr val="bg1"/>
                  </a:solidFill>
                  <a:latin typeface="Ubuntu" panose="020B0504030602030204" pitchFamily="34" charset="0"/>
                </a:rPr>
                <a:t>13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>
                  <a:solidFill>
                    <a:schemeClr val="bg1"/>
                  </a:solidFill>
                  <a:latin typeface="Ubuntu" panose="020B0504030602030204" pitchFamily="34" charset="0"/>
                </a:rPr>
                <a:t>92</a:t>
              </a:r>
            </a:p>
          </p:txBody>
        </p:sp>
        <p:sp>
          <p:nvSpPr>
            <p:cNvPr id="49" name="Forme libre : forme 48">
              <a:extLst>
                <a:ext uri="{FF2B5EF4-FFF2-40B4-BE49-F238E27FC236}">
                  <a16:creationId xmlns:a16="http://schemas.microsoft.com/office/drawing/2014/main" id="{90419B70-8C46-4DE8-9DD4-F2A6106ED6F5}"/>
                </a:ext>
              </a:extLst>
            </p:cNvPr>
            <p:cNvSpPr/>
            <p:nvPr/>
          </p:nvSpPr>
          <p:spPr>
            <a:xfrm>
              <a:off x="13168875" y="2405581"/>
              <a:ext cx="360000" cy="406800"/>
            </a:xfrm>
            <a:custGeom>
              <a:avLst/>
              <a:gdLst>
                <a:gd name="connsiteX0" fmla="*/ 0 w 1111406"/>
                <a:gd name="connsiteY0" fmla="*/ 0 h 776645"/>
                <a:gd name="connsiteX1" fmla="*/ 1111407 w 1111406"/>
                <a:gd name="connsiteY1" fmla="*/ 0 h 776645"/>
                <a:gd name="connsiteX2" fmla="*/ 1111407 w 1111406"/>
                <a:gd name="connsiteY2" fmla="*/ 776646 h 776645"/>
                <a:gd name="connsiteX3" fmla="*/ 0 w 1111406"/>
                <a:gd name="connsiteY3" fmla="*/ 776646 h 776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11406" h="776645">
                  <a:moveTo>
                    <a:pt x="0" y="0"/>
                  </a:moveTo>
                  <a:lnTo>
                    <a:pt x="1111407" y="0"/>
                  </a:lnTo>
                  <a:lnTo>
                    <a:pt x="1111407" y="776646"/>
                  </a:lnTo>
                  <a:lnTo>
                    <a:pt x="0" y="776646"/>
                  </a:lnTo>
                  <a:close/>
                </a:path>
              </a:pathLst>
            </a:custGeom>
            <a:solidFill>
              <a:srgbClr val="802B73"/>
            </a:solidFill>
            <a:ln w="66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>
                  <a:solidFill>
                    <a:schemeClr val="bg1"/>
                  </a:solidFill>
                  <a:latin typeface="Ubuntu" panose="020B0504030602030204" pitchFamily="34" charset="0"/>
                </a:rPr>
                <a:t>128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>
                  <a:solidFill>
                    <a:schemeClr val="bg1"/>
                  </a:solidFill>
                  <a:latin typeface="Ubuntu" panose="020B0504030602030204" pitchFamily="34" charset="0"/>
                </a:rPr>
                <a:t>43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>
                  <a:solidFill>
                    <a:schemeClr val="bg1"/>
                  </a:solidFill>
                  <a:latin typeface="Ubuntu" panose="020B0504030602030204" pitchFamily="34" charset="0"/>
                </a:rPr>
                <a:t>115</a:t>
              </a:r>
            </a:p>
          </p:txBody>
        </p:sp>
        <p:sp>
          <p:nvSpPr>
            <p:cNvPr id="50" name="Forme libre : forme 49">
              <a:extLst>
                <a:ext uri="{FF2B5EF4-FFF2-40B4-BE49-F238E27FC236}">
                  <a16:creationId xmlns:a16="http://schemas.microsoft.com/office/drawing/2014/main" id="{0A0CFFBA-E8FE-434D-9D74-BB9F352B4723}"/>
                </a:ext>
              </a:extLst>
            </p:cNvPr>
            <p:cNvSpPr/>
            <p:nvPr/>
          </p:nvSpPr>
          <p:spPr>
            <a:xfrm>
              <a:off x="13168875" y="1992581"/>
              <a:ext cx="360000" cy="406800"/>
            </a:xfrm>
            <a:custGeom>
              <a:avLst/>
              <a:gdLst>
                <a:gd name="connsiteX0" fmla="*/ 0 w 1111406"/>
                <a:gd name="connsiteY0" fmla="*/ 0 h 776645"/>
                <a:gd name="connsiteX1" fmla="*/ 1111407 w 1111406"/>
                <a:gd name="connsiteY1" fmla="*/ 0 h 776645"/>
                <a:gd name="connsiteX2" fmla="*/ 1111407 w 1111406"/>
                <a:gd name="connsiteY2" fmla="*/ 776646 h 776645"/>
                <a:gd name="connsiteX3" fmla="*/ 0 w 1111406"/>
                <a:gd name="connsiteY3" fmla="*/ 776646 h 776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11406" h="776645">
                  <a:moveTo>
                    <a:pt x="0" y="0"/>
                  </a:moveTo>
                  <a:lnTo>
                    <a:pt x="1111407" y="0"/>
                  </a:lnTo>
                  <a:lnTo>
                    <a:pt x="1111407" y="776646"/>
                  </a:lnTo>
                  <a:lnTo>
                    <a:pt x="0" y="776646"/>
                  </a:lnTo>
                  <a:close/>
                </a:path>
              </a:pathLst>
            </a:custGeom>
            <a:solidFill>
              <a:srgbClr val="9E4780"/>
            </a:solidFill>
            <a:ln w="66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>
                  <a:solidFill>
                    <a:schemeClr val="bg1"/>
                  </a:solidFill>
                  <a:latin typeface="Ubuntu" panose="020B0504030602030204" pitchFamily="34" charset="0"/>
                </a:rPr>
                <a:t>158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>
                  <a:solidFill>
                    <a:schemeClr val="bg1"/>
                  </a:solidFill>
                  <a:latin typeface="Ubuntu" panose="020B0504030602030204" pitchFamily="34" charset="0"/>
                </a:rPr>
                <a:t>71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>
                  <a:solidFill>
                    <a:schemeClr val="bg1"/>
                  </a:solidFill>
                  <a:latin typeface="Ubuntu" panose="020B0504030602030204" pitchFamily="34" charset="0"/>
                </a:rPr>
                <a:t>128</a:t>
              </a:r>
            </a:p>
          </p:txBody>
        </p:sp>
        <p:sp>
          <p:nvSpPr>
            <p:cNvPr id="51" name="Forme libre : forme 50">
              <a:extLst>
                <a:ext uri="{FF2B5EF4-FFF2-40B4-BE49-F238E27FC236}">
                  <a16:creationId xmlns:a16="http://schemas.microsoft.com/office/drawing/2014/main" id="{D041A42A-2FF1-4516-85CE-87051937629F}"/>
                </a:ext>
              </a:extLst>
            </p:cNvPr>
            <p:cNvSpPr/>
            <p:nvPr/>
          </p:nvSpPr>
          <p:spPr>
            <a:xfrm>
              <a:off x="13535697" y="3644581"/>
              <a:ext cx="360000" cy="406800"/>
            </a:xfrm>
            <a:custGeom>
              <a:avLst/>
              <a:gdLst>
                <a:gd name="connsiteX0" fmla="*/ 0 w 1111406"/>
                <a:gd name="connsiteY0" fmla="*/ 0 h 776645"/>
                <a:gd name="connsiteX1" fmla="*/ 1111407 w 1111406"/>
                <a:gd name="connsiteY1" fmla="*/ 0 h 776645"/>
                <a:gd name="connsiteX2" fmla="*/ 1111407 w 1111406"/>
                <a:gd name="connsiteY2" fmla="*/ 776646 h 776645"/>
                <a:gd name="connsiteX3" fmla="*/ 0 w 1111406"/>
                <a:gd name="connsiteY3" fmla="*/ 776646 h 776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11406" h="776645">
                  <a:moveTo>
                    <a:pt x="0" y="0"/>
                  </a:moveTo>
                  <a:lnTo>
                    <a:pt x="1111407" y="0"/>
                  </a:lnTo>
                  <a:lnTo>
                    <a:pt x="1111407" y="776646"/>
                  </a:lnTo>
                  <a:lnTo>
                    <a:pt x="0" y="776646"/>
                  </a:lnTo>
                  <a:close/>
                </a:path>
              </a:pathLst>
            </a:custGeom>
            <a:solidFill>
              <a:srgbClr val="A6001A"/>
            </a:solidFill>
            <a:ln w="66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>
                  <a:solidFill>
                    <a:schemeClr val="bg1"/>
                  </a:solidFill>
                  <a:latin typeface="Ubuntu" panose="020B0504030602030204" pitchFamily="34" charset="0"/>
                </a:rPr>
                <a:t>166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>
                  <a:solidFill>
                    <a:schemeClr val="bg1"/>
                  </a:solidFill>
                  <a:latin typeface="Ubuntu" panose="020B0504030602030204" pitchFamily="34" charset="0"/>
                </a:rPr>
                <a:t>0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>
                  <a:solidFill>
                    <a:schemeClr val="bg1"/>
                  </a:solidFill>
                  <a:latin typeface="Ubuntu" panose="020B0504030602030204" pitchFamily="34" charset="0"/>
                </a:rPr>
                <a:t>26</a:t>
              </a:r>
            </a:p>
          </p:txBody>
        </p:sp>
        <p:sp>
          <p:nvSpPr>
            <p:cNvPr id="52" name="Forme libre : forme 51">
              <a:extLst>
                <a:ext uri="{FF2B5EF4-FFF2-40B4-BE49-F238E27FC236}">
                  <a16:creationId xmlns:a16="http://schemas.microsoft.com/office/drawing/2014/main" id="{02084D3E-01E3-4506-9076-881D83455262}"/>
                </a:ext>
              </a:extLst>
            </p:cNvPr>
            <p:cNvSpPr/>
            <p:nvPr/>
          </p:nvSpPr>
          <p:spPr>
            <a:xfrm>
              <a:off x="13535697" y="3231581"/>
              <a:ext cx="360000" cy="406800"/>
            </a:xfrm>
            <a:custGeom>
              <a:avLst/>
              <a:gdLst>
                <a:gd name="connsiteX0" fmla="*/ 0 w 1111406"/>
                <a:gd name="connsiteY0" fmla="*/ 0 h 776645"/>
                <a:gd name="connsiteX1" fmla="*/ 1111407 w 1111406"/>
                <a:gd name="connsiteY1" fmla="*/ 0 h 776645"/>
                <a:gd name="connsiteX2" fmla="*/ 1111407 w 1111406"/>
                <a:gd name="connsiteY2" fmla="*/ 776646 h 776645"/>
                <a:gd name="connsiteX3" fmla="*/ 0 w 1111406"/>
                <a:gd name="connsiteY3" fmla="*/ 776646 h 776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11406" h="776645">
                  <a:moveTo>
                    <a:pt x="0" y="0"/>
                  </a:moveTo>
                  <a:lnTo>
                    <a:pt x="1111407" y="0"/>
                  </a:lnTo>
                  <a:lnTo>
                    <a:pt x="1111407" y="776646"/>
                  </a:lnTo>
                  <a:lnTo>
                    <a:pt x="0" y="776646"/>
                  </a:lnTo>
                  <a:close/>
                </a:path>
              </a:pathLst>
            </a:custGeom>
            <a:solidFill>
              <a:srgbClr val="E30021"/>
            </a:solidFill>
            <a:ln w="66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>
                  <a:solidFill>
                    <a:schemeClr val="bg1"/>
                  </a:solidFill>
                  <a:latin typeface="Ubuntu" panose="020B0504030602030204" pitchFamily="34" charset="0"/>
                </a:rPr>
                <a:t>227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>
                  <a:solidFill>
                    <a:schemeClr val="bg1"/>
                  </a:solidFill>
                  <a:latin typeface="Ubuntu" panose="020B0504030602030204" pitchFamily="34" charset="0"/>
                </a:rPr>
                <a:t>03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>
                  <a:solidFill>
                    <a:schemeClr val="bg1"/>
                  </a:solidFill>
                  <a:latin typeface="Ubuntu" panose="020B0504030602030204" pitchFamily="34" charset="0"/>
                </a:rPr>
                <a:t>33</a:t>
              </a:r>
            </a:p>
          </p:txBody>
        </p:sp>
        <p:sp>
          <p:nvSpPr>
            <p:cNvPr id="53" name="Forme libre : forme 52">
              <a:extLst>
                <a:ext uri="{FF2B5EF4-FFF2-40B4-BE49-F238E27FC236}">
                  <a16:creationId xmlns:a16="http://schemas.microsoft.com/office/drawing/2014/main" id="{96939CDC-56D5-42B9-843A-231E1C541E5D}"/>
                </a:ext>
              </a:extLst>
            </p:cNvPr>
            <p:cNvSpPr/>
            <p:nvPr/>
          </p:nvSpPr>
          <p:spPr>
            <a:xfrm>
              <a:off x="13535697" y="2818581"/>
              <a:ext cx="360000" cy="406800"/>
            </a:xfrm>
            <a:custGeom>
              <a:avLst/>
              <a:gdLst>
                <a:gd name="connsiteX0" fmla="*/ 0 w 1111406"/>
                <a:gd name="connsiteY0" fmla="*/ 0 h 1111407"/>
                <a:gd name="connsiteX1" fmla="*/ 1111407 w 1111406"/>
                <a:gd name="connsiteY1" fmla="*/ 0 h 1111407"/>
                <a:gd name="connsiteX2" fmla="*/ 1111407 w 1111406"/>
                <a:gd name="connsiteY2" fmla="*/ 1111407 h 1111407"/>
                <a:gd name="connsiteX3" fmla="*/ 0 w 1111406"/>
                <a:gd name="connsiteY3" fmla="*/ 1111407 h 11114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11406" h="1111407">
                  <a:moveTo>
                    <a:pt x="0" y="0"/>
                  </a:moveTo>
                  <a:lnTo>
                    <a:pt x="1111407" y="0"/>
                  </a:lnTo>
                  <a:lnTo>
                    <a:pt x="1111407" y="1111407"/>
                  </a:lnTo>
                  <a:lnTo>
                    <a:pt x="0" y="1111407"/>
                  </a:lnTo>
                  <a:close/>
                </a:path>
              </a:pathLst>
            </a:custGeom>
            <a:solidFill>
              <a:srgbClr val="FF304D"/>
            </a:solidFill>
            <a:ln w="66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>
                  <a:latin typeface="Ubuntu" panose="020B0504030602030204" pitchFamily="34" charset="0"/>
                </a:rPr>
                <a:t>255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>
                  <a:latin typeface="Ubuntu" panose="020B0504030602030204" pitchFamily="34" charset="0"/>
                </a:rPr>
                <a:t>48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>
                  <a:latin typeface="Ubuntu" panose="020B0504030602030204" pitchFamily="34" charset="0"/>
                </a:rPr>
                <a:t>77</a:t>
              </a:r>
            </a:p>
          </p:txBody>
        </p:sp>
        <p:sp>
          <p:nvSpPr>
            <p:cNvPr id="54" name="Forme libre : forme 53">
              <a:extLst>
                <a:ext uri="{FF2B5EF4-FFF2-40B4-BE49-F238E27FC236}">
                  <a16:creationId xmlns:a16="http://schemas.microsoft.com/office/drawing/2014/main" id="{66B49780-B844-4D04-8283-E12AAC6933AF}"/>
                </a:ext>
              </a:extLst>
            </p:cNvPr>
            <p:cNvSpPr/>
            <p:nvPr/>
          </p:nvSpPr>
          <p:spPr>
            <a:xfrm>
              <a:off x="13535697" y="2405581"/>
              <a:ext cx="360000" cy="406800"/>
            </a:xfrm>
            <a:custGeom>
              <a:avLst/>
              <a:gdLst>
                <a:gd name="connsiteX0" fmla="*/ 0 w 1111406"/>
                <a:gd name="connsiteY0" fmla="*/ 0 h 776645"/>
                <a:gd name="connsiteX1" fmla="*/ 1111407 w 1111406"/>
                <a:gd name="connsiteY1" fmla="*/ 0 h 776645"/>
                <a:gd name="connsiteX2" fmla="*/ 1111407 w 1111406"/>
                <a:gd name="connsiteY2" fmla="*/ 776646 h 776645"/>
                <a:gd name="connsiteX3" fmla="*/ 0 w 1111406"/>
                <a:gd name="connsiteY3" fmla="*/ 776646 h 776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11406" h="776645">
                  <a:moveTo>
                    <a:pt x="0" y="0"/>
                  </a:moveTo>
                  <a:lnTo>
                    <a:pt x="1111407" y="0"/>
                  </a:lnTo>
                  <a:lnTo>
                    <a:pt x="1111407" y="776646"/>
                  </a:lnTo>
                  <a:lnTo>
                    <a:pt x="0" y="776646"/>
                  </a:lnTo>
                  <a:close/>
                </a:path>
              </a:pathLst>
            </a:custGeom>
            <a:solidFill>
              <a:srgbClr val="FF455E"/>
            </a:solidFill>
            <a:ln w="66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>
                  <a:latin typeface="Ubuntu" panose="020B0504030602030204" pitchFamily="34" charset="0"/>
                </a:rPr>
                <a:t>255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>
                  <a:latin typeface="Ubuntu" panose="020B0504030602030204" pitchFamily="34" charset="0"/>
                </a:rPr>
                <a:t>69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>
                  <a:latin typeface="Ubuntu" panose="020B0504030602030204" pitchFamily="34" charset="0"/>
                </a:rPr>
                <a:t>94</a:t>
              </a:r>
            </a:p>
          </p:txBody>
        </p:sp>
        <p:sp>
          <p:nvSpPr>
            <p:cNvPr id="55" name="Forme libre : forme 54">
              <a:extLst>
                <a:ext uri="{FF2B5EF4-FFF2-40B4-BE49-F238E27FC236}">
                  <a16:creationId xmlns:a16="http://schemas.microsoft.com/office/drawing/2014/main" id="{FF82BEF1-5FD1-4558-9313-1606ABF3D69C}"/>
                </a:ext>
              </a:extLst>
            </p:cNvPr>
            <p:cNvSpPr/>
            <p:nvPr/>
          </p:nvSpPr>
          <p:spPr>
            <a:xfrm>
              <a:off x="13535697" y="1992581"/>
              <a:ext cx="360000" cy="406800"/>
            </a:xfrm>
            <a:custGeom>
              <a:avLst/>
              <a:gdLst>
                <a:gd name="connsiteX0" fmla="*/ 0 w 1111406"/>
                <a:gd name="connsiteY0" fmla="*/ 0 h 776645"/>
                <a:gd name="connsiteX1" fmla="*/ 1111407 w 1111406"/>
                <a:gd name="connsiteY1" fmla="*/ 0 h 776645"/>
                <a:gd name="connsiteX2" fmla="*/ 1111407 w 1111406"/>
                <a:gd name="connsiteY2" fmla="*/ 776646 h 776645"/>
                <a:gd name="connsiteX3" fmla="*/ 0 w 1111406"/>
                <a:gd name="connsiteY3" fmla="*/ 776646 h 776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11406" h="776645">
                  <a:moveTo>
                    <a:pt x="0" y="0"/>
                  </a:moveTo>
                  <a:lnTo>
                    <a:pt x="1111407" y="0"/>
                  </a:lnTo>
                  <a:lnTo>
                    <a:pt x="1111407" y="776646"/>
                  </a:lnTo>
                  <a:lnTo>
                    <a:pt x="0" y="776646"/>
                  </a:lnTo>
                  <a:close/>
                </a:path>
              </a:pathLst>
            </a:custGeom>
            <a:solidFill>
              <a:srgbClr val="FF5770"/>
            </a:solidFill>
            <a:ln w="66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>
                  <a:latin typeface="Ubuntu" panose="020B0504030602030204" pitchFamily="34" charset="0"/>
                </a:rPr>
                <a:t>255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>
                  <a:latin typeface="Ubuntu" panose="020B0504030602030204" pitchFamily="34" charset="0"/>
                </a:rPr>
                <a:t>87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>
                  <a:latin typeface="Ubuntu" panose="020B0504030602030204" pitchFamily="34" charset="0"/>
                </a:rPr>
                <a:t>112</a:t>
              </a:r>
            </a:p>
          </p:txBody>
        </p:sp>
        <p:sp>
          <p:nvSpPr>
            <p:cNvPr id="56" name="Forme libre : forme 55">
              <a:extLst>
                <a:ext uri="{FF2B5EF4-FFF2-40B4-BE49-F238E27FC236}">
                  <a16:creationId xmlns:a16="http://schemas.microsoft.com/office/drawing/2014/main" id="{86AAEC8D-AC95-4215-80AB-61B5B47B8691}"/>
                </a:ext>
              </a:extLst>
            </p:cNvPr>
            <p:cNvSpPr/>
            <p:nvPr/>
          </p:nvSpPr>
          <p:spPr>
            <a:xfrm>
              <a:off x="12432704" y="3644581"/>
              <a:ext cx="360000" cy="406800"/>
            </a:xfrm>
            <a:custGeom>
              <a:avLst/>
              <a:gdLst>
                <a:gd name="connsiteX0" fmla="*/ 0 w 1111406"/>
                <a:gd name="connsiteY0" fmla="*/ 0 h 776645"/>
                <a:gd name="connsiteX1" fmla="*/ 1111407 w 1111406"/>
                <a:gd name="connsiteY1" fmla="*/ 0 h 776645"/>
                <a:gd name="connsiteX2" fmla="*/ 1111407 w 1111406"/>
                <a:gd name="connsiteY2" fmla="*/ 776646 h 776645"/>
                <a:gd name="connsiteX3" fmla="*/ 0 w 1111406"/>
                <a:gd name="connsiteY3" fmla="*/ 776646 h 776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11406" h="776645">
                  <a:moveTo>
                    <a:pt x="0" y="0"/>
                  </a:moveTo>
                  <a:lnTo>
                    <a:pt x="1111407" y="0"/>
                  </a:lnTo>
                  <a:lnTo>
                    <a:pt x="1111407" y="776646"/>
                  </a:lnTo>
                  <a:lnTo>
                    <a:pt x="0" y="776646"/>
                  </a:lnTo>
                  <a:close/>
                </a:path>
              </a:pathLst>
            </a:custGeom>
            <a:solidFill>
              <a:srgbClr val="811B6F"/>
            </a:solidFill>
            <a:ln w="66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>
                  <a:solidFill>
                    <a:schemeClr val="bg1"/>
                  </a:solidFill>
                  <a:latin typeface="Ubuntu" panose="020B0504030602030204" pitchFamily="34" charset="0"/>
                </a:rPr>
                <a:t>129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>
                  <a:solidFill>
                    <a:schemeClr val="bg1"/>
                  </a:solidFill>
                  <a:latin typeface="Ubuntu" panose="020B0504030602030204" pitchFamily="34" charset="0"/>
                </a:rPr>
                <a:t>27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>
                  <a:solidFill>
                    <a:schemeClr val="bg1"/>
                  </a:solidFill>
                  <a:latin typeface="Ubuntu" panose="020B0504030602030204" pitchFamily="34" charset="0"/>
                </a:rPr>
                <a:t>111</a:t>
              </a:r>
            </a:p>
          </p:txBody>
        </p:sp>
        <p:sp>
          <p:nvSpPr>
            <p:cNvPr id="57" name="Forme libre : forme 56">
              <a:extLst>
                <a:ext uri="{FF2B5EF4-FFF2-40B4-BE49-F238E27FC236}">
                  <a16:creationId xmlns:a16="http://schemas.microsoft.com/office/drawing/2014/main" id="{345AA905-3BBB-4015-9537-2162DD20DA02}"/>
                </a:ext>
              </a:extLst>
            </p:cNvPr>
            <p:cNvSpPr/>
            <p:nvPr/>
          </p:nvSpPr>
          <p:spPr>
            <a:xfrm>
              <a:off x="12432704" y="3231581"/>
              <a:ext cx="360000" cy="406800"/>
            </a:xfrm>
            <a:custGeom>
              <a:avLst/>
              <a:gdLst>
                <a:gd name="connsiteX0" fmla="*/ 0 w 1111406"/>
                <a:gd name="connsiteY0" fmla="*/ 0 h 776645"/>
                <a:gd name="connsiteX1" fmla="*/ 1111407 w 1111406"/>
                <a:gd name="connsiteY1" fmla="*/ 0 h 776645"/>
                <a:gd name="connsiteX2" fmla="*/ 1111407 w 1111406"/>
                <a:gd name="connsiteY2" fmla="*/ 776646 h 776645"/>
                <a:gd name="connsiteX3" fmla="*/ 0 w 1111406"/>
                <a:gd name="connsiteY3" fmla="*/ 776646 h 776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11406" h="776645">
                  <a:moveTo>
                    <a:pt x="0" y="0"/>
                  </a:moveTo>
                  <a:lnTo>
                    <a:pt x="1111407" y="0"/>
                  </a:lnTo>
                  <a:lnTo>
                    <a:pt x="1111407" y="776646"/>
                  </a:lnTo>
                  <a:lnTo>
                    <a:pt x="0" y="776646"/>
                  </a:lnTo>
                  <a:close/>
                </a:path>
              </a:pathLst>
            </a:custGeom>
            <a:solidFill>
              <a:srgbClr val="A12980"/>
            </a:solidFill>
            <a:ln w="66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>
                  <a:solidFill>
                    <a:schemeClr val="bg1"/>
                  </a:solidFill>
                  <a:latin typeface="Ubuntu" panose="020B0504030602030204" pitchFamily="34" charset="0"/>
                </a:rPr>
                <a:t>161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>
                  <a:solidFill>
                    <a:schemeClr val="bg1"/>
                  </a:solidFill>
                  <a:latin typeface="Ubuntu" panose="020B0504030602030204" pitchFamily="34" charset="0"/>
                </a:rPr>
                <a:t>41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>
                  <a:solidFill>
                    <a:schemeClr val="bg1"/>
                  </a:solidFill>
                  <a:latin typeface="Ubuntu" panose="020B0504030602030204" pitchFamily="34" charset="0"/>
                </a:rPr>
                <a:t>128</a:t>
              </a:r>
            </a:p>
          </p:txBody>
        </p:sp>
        <p:sp>
          <p:nvSpPr>
            <p:cNvPr id="58" name="Forme libre : forme 57">
              <a:extLst>
                <a:ext uri="{FF2B5EF4-FFF2-40B4-BE49-F238E27FC236}">
                  <a16:creationId xmlns:a16="http://schemas.microsoft.com/office/drawing/2014/main" id="{8E50898F-084D-45EC-9EDA-C64E62F50B6F}"/>
                </a:ext>
              </a:extLst>
            </p:cNvPr>
            <p:cNvSpPr/>
            <p:nvPr/>
          </p:nvSpPr>
          <p:spPr>
            <a:xfrm>
              <a:off x="12432704" y="2818581"/>
              <a:ext cx="360000" cy="406800"/>
            </a:xfrm>
            <a:custGeom>
              <a:avLst/>
              <a:gdLst>
                <a:gd name="connsiteX0" fmla="*/ 0 w 1111406"/>
                <a:gd name="connsiteY0" fmla="*/ 0 h 1111407"/>
                <a:gd name="connsiteX1" fmla="*/ 1111407 w 1111406"/>
                <a:gd name="connsiteY1" fmla="*/ 0 h 1111407"/>
                <a:gd name="connsiteX2" fmla="*/ 1111407 w 1111406"/>
                <a:gd name="connsiteY2" fmla="*/ 1111407 h 1111407"/>
                <a:gd name="connsiteX3" fmla="*/ 0 w 1111406"/>
                <a:gd name="connsiteY3" fmla="*/ 1111407 h 11114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11406" h="1111407">
                  <a:moveTo>
                    <a:pt x="0" y="0"/>
                  </a:moveTo>
                  <a:lnTo>
                    <a:pt x="1111407" y="0"/>
                  </a:lnTo>
                  <a:lnTo>
                    <a:pt x="1111407" y="1111407"/>
                  </a:lnTo>
                  <a:lnTo>
                    <a:pt x="0" y="1111407"/>
                  </a:lnTo>
                  <a:close/>
                </a:path>
              </a:pathLst>
            </a:custGeom>
            <a:solidFill>
              <a:srgbClr val="BA2980"/>
            </a:solidFill>
            <a:ln w="66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>
                  <a:solidFill>
                    <a:schemeClr val="bg1"/>
                  </a:solidFill>
                  <a:latin typeface="Ubuntu" panose="020B0504030602030204" pitchFamily="34" charset="0"/>
                </a:rPr>
                <a:t>186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>
                  <a:solidFill>
                    <a:schemeClr val="bg1"/>
                  </a:solidFill>
                  <a:latin typeface="Ubuntu" panose="020B0504030602030204" pitchFamily="34" charset="0"/>
                </a:rPr>
                <a:t>41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>
                  <a:solidFill>
                    <a:schemeClr val="bg1"/>
                  </a:solidFill>
                  <a:latin typeface="Ubuntu" panose="020B0504030602030204" pitchFamily="34" charset="0"/>
                </a:rPr>
                <a:t>128</a:t>
              </a:r>
            </a:p>
          </p:txBody>
        </p:sp>
        <p:sp>
          <p:nvSpPr>
            <p:cNvPr id="59" name="Forme libre : forme 58">
              <a:extLst>
                <a:ext uri="{FF2B5EF4-FFF2-40B4-BE49-F238E27FC236}">
                  <a16:creationId xmlns:a16="http://schemas.microsoft.com/office/drawing/2014/main" id="{850EF37B-321C-4CAE-A8B1-66C0053A83E3}"/>
                </a:ext>
              </a:extLst>
            </p:cNvPr>
            <p:cNvSpPr/>
            <p:nvPr/>
          </p:nvSpPr>
          <p:spPr>
            <a:xfrm>
              <a:off x="12432704" y="2405581"/>
              <a:ext cx="360000" cy="406800"/>
            </a:xfrm>
            <a:custGeom>
              <a:avLst/>
              <a:gdLst>
                <a:gd name="connsiteX0" fmla="*/ 0 w 1111406"/>
                <a:gd name="connsiteY0" fmla="*/ 0 h 776645"/>
                <a:gd name="connsiteX1" fmla="*/ 1111407 w 1111406"/>
                <a:gd name="connsiteY1" fmla="*/ 0 h 776645"/>
                <a:gd name="connsiteX2" fmla="*/ 1111407 w 1111406"/>
                <a:gd name="connsiteY2" fmla="*/ 776646 h 776645"/>
                <a:gd name="connsiteX3" fmla="*/ 0 w 1111406"/>
                <a:gd name="connsiteY3" fmla="*/ 776646 h 776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11406" h="776645">
                  <a:moveTo>
                    <a:pt x="0" y="0"/>
                  </a:moveTo>
                  <a:lnTo>
                    <a:pt x="1111407" y="0"/>
                  </a:lnTo>
                  <a:lnTo>
                    <a:pt x="1111407" y="776646"/>
                  </a:lnTo>
                  <a:lnTo>
                    <a:pt x="0" y="776646"/>
                  </a:lnTo>
                  <a:close/>
                </a:path>
              </a:pathLst>
            </a:custGeom>
            <a:solidFill>
              <a:srgbClr val="D13A8C"/>
            </a:solidFill>
            <a:ln w="66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>
                  <a:latin typeface="Ubuntu" panose="020B0504030602030204" pitchFamily="34" charset="0"/>
                </a:rPr>
                <a:t>209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>
                  <a:latin typeface="Ubuntu" panose="020B0504030602030204" pitchFamily="34" charset="0"/>
                </a:rPr>
                <a:t>58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>
                  <a:latin typeface="Ubuntu" panose="020B0504030602030204" pitchFamily="34" charset="0"/>
                </a:rPr>
                <a:t>140</a:t>
              </a:r>
            </a:p>
          </p:txBody>
        </p:sp>
        <p:sp>
          <p:nvSpPr>
            <p:cNvPr id="60" name="Forme libre : forme 59">
              <a:extLst>
                <a:ext uri="{FF2B5EF4-FFF2-40B4-BE49-F238E27FC236}">
                  <a16:creationId xmlns:a16="http://schemas.microsoft.com/office/drawing/2014/main" id="{49EEAAAC-C871-41A3-9B9B-6381B2FD4E28}"/>
                </a:ext>
              </a:extLst>
            </p:cNvPr>
            <p:cNvSpPr/>
            <p:nvPr/>
          </p:nvSpPr>
          <p:spPr>
            <a:xfrm>
              <a:off x="12432704" y="1993636"/>
              <a:ext cx="360000" cy="406800"/>
            </a:xfrm>
            <a:custGeom>
              <a:avLst/>
              <a:gdLst>
                <a:gd name="connsiteX0" fmla="*/ 0 w 1111406"/>
                <a:gd name="connsiteY0" fmla="*/ 0 h 776645"/>
                <a:gd name="connsiteX1" fmla="*/ 1111407 w 1111406"/>
                <a:gd name="connsiteY1" fmla="*/ 0 h 776645"/>
                <a:gd name="connsiteX2" fmla="*/ 1111407 w 1111406"/>
                <a:gd name="connsiteY2" fmla="*/ 776646 h 776645"/>
                <a:gd name="connsiteX3" fmla="*/ 0 w 1111406"/>
                <a:gd name="connsiteY3" fmla="*/ 776646 h 776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11406" h="776645">
                  <a:moveTo>
                    <a:pt x="0" y="0"/>
                  </a:moveTo>
                  <a:lnTo>
                    <a:pt x="1111407" y="0"/>
                  </a:lnTo>
                  <a:lnTo>
                    <a:pt x="1111407" y="776646"/>
                  </a:lnTo>
                  <a:lnTo>
                    <a:pt x="0" y="776646"/>
                  </a:lnTo>
                  <a:close/>
                </a:path>
              </a:pathLst>
            </a:custGeom>
            <a:solidFill>
              <a:srgbClr val="E557AD"/>
            </a:solidFill>
            <a:ln w="66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>
                  <a:latin typeface="Ubuntu" panose="020B0504030602030204" pitchFamily="34" charset="0"/>
                </a:rPr>
                <a:t>229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>
                  <a:latin typeface="Ubuntu" panose="020B0504030602030204" pitchFamily="34" charset="0"/>
                </a:rPr>
                <a:t>87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>
                  <a:latin typeface="Ubuntu" panose="020B0504030602030204" pitchFamily="34" charset="0"/>
                </a:rPr>
                <a:t>173</a:t>
              </a:r>
            </a:p>
          </p:txBody>
        </p:sp>
      </p:grpSp>
      <p:sp>
        <p:nvSpPr>
          <p:cNvPr id="61" name="Rectangle 60">
            <a:extLst>
              <a:ext uri="{FF2B5EF4-FFF2-40B4-BE49-F238E27FC236}">
                <a16:creationId xmlns:a16="http://schemas.microsoft.com/office/drawing/2014/main" id="{9D36E5FD-F409-4495-819A-440FA57D9E19}"/>
              </a:ext>
            </a:extLst>
          </p:cNvPr>
          <p:cNvSpPr/>
          <p:nvPr/>
        </p:nvSpPr>
        <p:spPr>
          <a:xfrm>
            <a:off x="12295891" y="6412526"/>
            <a:ext cx="2545089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GB" sz="800">
                <a:latin typeface="Ubuntu" panose="020B0504030602030204" pitchFamily="34" charset="0"/>
              </a:rPr>
              <a:t>Security Classification:</a:t>
            </a:r>
          </a:p>
          <a:p>
            <a:r>
              <a:rPr lang="en-GB" sz="800">
                <a:latin typeface="Ubuntu" panose="020B0504030602030204" pitchFamily="34" charset="0"/>
              </a:rPr>
              <a:t>SEC0: Public</a:t>
            </a:r>
          </a:p>
          <a:p>
            <a:r>
              <a:rPr lang="en-GB" sz="800">
                <a:latin typeface="Ubuntu" panose="020B0504030602030204" pitchFamily="34" charset="0"/>
              </a:rPr>
              <a:t>SEC1: Company Confidential</a:t>
            </a:r>
          </a:p>
          <a:p>
            <a:r>
              <a:rPr lang="en-GB" sz="800">
                <a:latin typeface="Ubuntu" panose="020B0504030602030204" pitchFamily="34" charset="0"/>
              </a:rPr>
              <a:t>SEC2: Company Restricted / Customer restricted</a:t>
            </a:r>
          </a:p>
          <a:p>
            <a:r>
              <a:rPr lang="en-GB" sz="800">
                <a:latin typeface="Ubuntu" panose="020B0504030602030204" pitchFamily="34" charset="0"/>
              </a:rPr>
              <a:t>SEC3: Company Sensitive</a:t>
            </a:r>
          </a:p>
        </p:txBody>
      </p:sp>
      <p:grpSp>
        <p:nvGrpSpPr>
          <p:cNvPr id="4097" name="Groupe 4096">
            <a:extLst>
              <a:ext uri="{FF2B5EF4-FFF2-40B4-BE49-F238E27FC236}">
                <a16:creationId xmlns:a16="http://schemas.microsoft.com/office/drawing/2014/main" id="{14207897-E387-4B97-A694-8751D86BCF12}"/>
              </a:ext>
            </a:extLst>
          </p:cNvPr>
          <p:cNvGrpSpPr/>
          <p:nvPr/>
        </p:nvGrpSpPr>
        <p:grpSpPr>
          <a:xfrm>
            <a:off x="12295891" y="2164677"/>
            <a:ext cx="1465123" cy="2058800"/>
            <a:chOff x="14041053" y="1992581"/>
            <a:chExt cx="1465123" cy="2058800"/>
          </a:xfrm>
        </p:grpSpPr>
        <p:sp>
          <p:nvSpPr>
            <p:cNvPr id="66" name="Forme libre : forme 65">
              <a:extLst>
                <a:ext uri="{FF2B5EF4-FFF2-40B4-BE49-F238E27FC236}">
                  <a16:creationId xmlns:a16="http://schemas.microsoft.com/office/drawing/2014/main" id="{94847038-3CB7-4111-AB03-FA1A594002AA}"/>
                </a:ext>
              </a:extLst>
            </p:cNvPr>
            <p:cNvSpPr/>
            <p:nvPr/>
          </p:nvSpPr>
          <p:spPr>
            <a:xfrm>
              <a:off x="14777224" y="3644581"/>
              <a:ext cx="360865" cy="406800"/>
            </a:xfrm>
            <a:custGeom>
              <a:avLst/>
              <a:gdLst>
                <a:gd name="connsiteX0" fmla="*/ 0 w 1111406"/>
                <a:gd name="connsiteY0" fmla="*/ 0 h 776645"/>
                <a:gd name="connsiteX1" fmla="*/ 1111407 w 1111406"/>
                <a:gd name="connsiteY1" fmla="*/ 0 h 776645"/>
                <a:gd name="connsiteX2" fmla="*/ 1111407 w 1111406"/>
                <a:gd name="connsiteY2" fmla="*/ 776646 h 776645"/>
                <a:gd name="connsiteX3" fmla="*/ 0 w 1111406"/>
                <a:gd name="connsiteY3" fmla="*/ 776646 h 776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11406" h="776645">
                  <a:moveTo>
                    <a:pt x="0" y="0"/>
                  </a:moveTo>
                  <a:lnTo>
                    <a:pt x="1111407" y="0"/>
                  </a:lnTo>
                  <a:lnTo>
                    <a:pt x="1111407" y="776646"/>
                  </a:lnTo>
                  <a:lnTo>
                    <a:pt x="0" y="776646"/>
                  </a:lnTo>
                  <a:close/>
                </a:path>
              </a:pathLst>
            </a:custGeom>
            <a:solidFill>
              <a:srgbClr val="0F434A"/>
            </a:solidFill>
            <a:ln w="66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>
                  <a:solidFill>
                    <a:schemeClr val="bg1"/>
                  </a:solidFill>
                  <a:latin typeface="Ubuntu" panose="020B0504030602030204" pitchFamily="34" charset="0"/>
                </a:rPr>
                <a:t>15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>
                  <a:solidFill>
                    <a:schemeClr val="bg1"/>
                  </a:solidFill>
                  <a:latin typeface="Ubuntu" panose="020B0504030602030204" pitchFamily="34" charset="0"/>
                </a:rPr>
                <a:t>67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>
                  <a:solidFill>
                    <a:schemeClr val="bg1"/>
                  </a:solidFill>
                  <a:latin typeface="Ubuntu" panose="020B0504030602030204" pitchFamily="34" charset="0"/>
                </a:rPr>
                <a:t>74</a:t>
              </a:r>
            </a:p>
          </p:txBody>
        </p:sp>
        <p:sp>
          <p:nvSpPr>
            <p:cNvPr id="67" name="Forme libre : forme 66">
              <a:extLst>
                <a:ext uri="{FF2B5EF4-FFF2-40B4-BE49-F238E27FC236}">
                  <a16:creationId xmlns:a16="http://schemas.microsoft.com/office/drawing/2014/main" id="{1B50522B-BA67-4790-8697-3AC343D4ACB8}"/>
                </a:ext>
              </a:extLst>
            </p:cNvPr>
            <p:cNvSpPr/>
            <p:nvPr/>
          </p:nvSpPr>
          <p:spPr>
            <a:xfrm>
              <a:off x="14777224" y="3231581"/>
              <a:ext cx="360865" cy="406800"/>
            </a:xfrm>
            <a:custGeom>
              <a:avLst/>
              <a:gdLst>
                <a:gd name="connsiteX0" fmla="*/ 0 w 1111406"/>
                <a:gd name="connsiteY0" fmla="*/ 0 h 776645"/>
                <a:gd name="connsiteX1" fmla="*/ 1111407 w 1111406"/>
                <a:gd name="connsiteY1" fmla="*/ 0 h 776645"/>
                <a:gd name="connsiteX2" fmla="*/ 1111407 w 1111406"/>
                <a:gd name="connsiteY2" fmla="*/ 776646 h 776645"/>
                <a:gd name="connsiteX3" fmla="*/ 0 w 1111406"/>
                <a:gd name="connsiteY3" fmla="*/ 776646 h 776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11406" h="776645">
                  <a:moveTo>
                    <a:pt x="0" y="0"/>
                  </a:moveTo>
                  <a:lnTo>
                    <a:pt x="1111407" y="0"/>
                  </a:lnTo>
                  <a:lnTo>
                    <a:pt x="1111407" y="776646"/>
                  </a:lnTo>
                  <a:lnTo>
                    <a:pt x="0" y="776646"/>
                  </a:lnTo>
                  <a:close/>
                </a:path>
              </a:pathLst>
            </a:custGeom>
            <a:solidFill>
              <a:srgbClr val="0F6A73"/>
            </a:solidFill>
            <a:ln w="66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>
                  <a:solidFill>
                    <a:schemeClr val="bg1"/>
                  </a:solidFill>
                  <a:latin typeface="Ubuntu" panose="020B0504030602030204" pitchFamily="34" charset="0"/>
                </a:rPr>
                <a:t>15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>
                  <a:solidFill>
                    <a:schemeClr val="bg1"/>
                  </a:solidFill>
                  <a:latin typeface="Ubuntu" panose="020B0504030602030204" pitchFamily="34" charset="0"/>
                </a:rPr>
                <a:t>106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>
                  <a:solidFill>
                    <a:schemeClr val="bg1"/>
                  </a:solidFill>
                  <a:latin typeface="Ubuntu" panose="020B0504030602030204" pitchFamily="34" charset="0"/>
                </a:rPr>
                <a:t>115</a:t>
              </a:r>
            </a:p>
          </p:txBody>
        </p:sp>
        <p:sp>
          <p:nvSpPr>
            <p:cNvPr id="68" name="Forme libre : forme 67">
              <a:extLst>
                <a:ext uri="{FF2B5EF4-FFF2-40B4-BE49-F238E27FC236}">
                  <a16:creationId xmlns:a16="http://schemas.microsoft.com/office/drawing/2014/main" id="{B90AA6F9-B8A6-4490-A465-CBEFAEA6DFCA}"/>
                </a:ext>
              </a:extLst>
            </p:cNvPr>
            <p:cNvSpPr/>
            <p:nvPr/>
          </p:nvSpPr>
          <p:spPr>
            <a:xfrm>
              <a:off x="14777224" y="2818581"/>
              <a:ext cx="360865" cy="406800"/>
            </a:xfrm>
            <a:custGeom>
              <a:avLst/>
              <a:gdLst>
                <a:gd name="connsiteX0" fmla="*/ 0 w 1111406"/>
                <a:gd name="connsiteY0" fmla="*/ 0 h 1111407"/>
                <a:gd name="connsiteX1" fmla="*/ 1111407 w 1111406"/>
                <a:gd name="connsiteY1" fmla="*/ 0 h 1111407"/>
                <a:gd name="connsiteX2" fmla="*/ 1111407 w 1111406"/>
                <a:gd name="connsiteY2" fmla="*/ 1111407 h 1111407"/>
                <a:gd name="connsiteX3" fmla="*/ 0 w 1111406"/>
                <a:gd name="connsiteY3" fmla="*/ 1111407 h 11114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11406" h="1111407">
                  <a:moveTo>
                    <a:pt x="0" y="0"/>
                  </a:moveTo>
                  <a:lnTo>
                    <a:pt x="1111407" y="0"/>
                  </a:lnTo>
                  <a:lnTo>
                    <a:pt x="1111407" y="1111407"/>
                  </a:lnTo>
                  <a:lnTo>
                    <a:pt x="0" y="1111407"/>
                  </a:lnTo>
                  <a:close/>
                </a:path>
              </a:pathLst>
            </a:custGeom>
            <a:solidFill>
              <a:srgbClr val="0F878A"/>
            </a:solidFill>
            <a:ln w="66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>
                  <a:solidFill>
                    <a:schemeClr val="bg1"/>
                  </a:solidFill>
                  <a:latin typeface="Ubuntu" panose="020B0504030602030204" pitchFamily="34" charset="0"/>
                </a:rPr>
                <a:t>15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>
                  <a:solidFill>
                    <a:schemeClr val="bg1"/>
                  </a:solidFill>
                  <a:latin typeface="Ubuntu" panose="020B0504030602030204" pitchFamily="34" charset="0"/>
                </a:rPr>
                <a:t>135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>
                  <a:solidFill>
                    <a:schemeClr val="bg1"/>
                  </a:solidFill>
                  <a:latin typeface="Ubuntu" panose="020B0504030602030204" pitchFamily="34" charset="0"/>
                </a:rPr>
                <a:t>138</a:t>
              </a:r>
            </a:p>
          </p:txBody>
        </p:sp>
        <p:sp>
          <p:nvSpPr>
            <p:cNvPr id="69" name="Forme libre : forme 68">
              <a:extLst>
                <a:ext uri="{FF2B5EF4-FFF2-40B4-BE49-F238E27FC236}">
                  <a16:creationId xmlns:a16="http://schemas.microsoft.com/office/drawing/2014/main" id="{AEDB31E0-288F-492F-BC3E-94F3C3363294}"/>
                </a:ext>
              </a:extLst>
            </p:cNvPr>
            <p:cNvSpPr/>
            <p:nvPr/>
          </p:nvSpPr>
          <p:spPr>
            <a:xfrm>
              <a:off x="14777224" y="2405581"/>
              <a:ext cx="360865" cy="406800"/>
            </a:xfrm>
            <a:custGeom>
              <a:avLst/>
              <a:gdLst>
                <a:gd name="connsiteX0" fmla="*/ 0 w 1111406"/>
                <a:gd name="connsiteY0" fmla="*/ 0 h 776645"/>
                <a:gd name="connsiteX1" fmla="*/ 1111407 w 1111406"/>
                <a:gd name="connsiteY1" fmla="*/ 0 h 776645"/>
                <a:gd name="connsiteX2" fmla="*/ 1111407 w 1111406"/>
                <a:gd name="connsiteY2" fmla="*/ 776646 h 776645"/>
                <a:gd name="connsiteX3" fmla="*/ 0 w 1111406"/>
                <a:gd name="connsiteY3" fmla="*/ 776646 h 776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11406" h="776645">
                  <a:moveTo>
                    <a:pt x="0" y="0"/>
                  </a:moveTo>
                  <a:lnTo>
                    <a:pt x="1111407" y="0"/>
                  </a:lnTo>
                  <a:lnTo>
                    <a:pt x="1111407" y="776646"/>
                  </a:lnTo>
                  <a:lnTo>
                    <a:pt x="0" y="776646"/>
                  </a:lnTo>
                  <a:close/>
                </a:path>
              </a:pathLst>
            </a:custGeom>
            <a:solidFill>
              <a:srgbClr val="00B2A2"/>
            </a:solidFill>
            <a:ln w="66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>
                  <a:latin typeface="Ubuntu" panose="020B0504030602030204" pitchFamily="34" charset="0"/>
                </a:rPr>
                <a:t>0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>
                  <a:latin typeface="Ubuntu" panose="020B0504030602030204" pitchFamily="34" charset="0"/>
                </a:rPr>
                <a:t>178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>
                  <a:latin typeface="Ubuntu" panose="020B0504030602030204" pitchFamily="34" charset="0"/>
                </a:rPr>
                <a:t>162</a:t>
              </a:r>
            </a:p>
          </p:txBody>
        </p:sp>
        <p:sp>
          <p:nvSpPr>
            <p:cNvPr id="70" name="Forme libre : forme 69">
              <a:extLst>
                <a:ext uri="{FF2B5EF4-FFF2-40B4-BE49-F238E27FC236}">
                  <a16:creationId xmlns:a16="http://schemas.microsoft.com/office/drawing/2014/main" id="{8F775A35-2F34-403A-95F8-4058F1A09A02}"/>
                </a:ext>
              </a:extLst>
            </p:cNvPr>
            <p:cNvSpPr/>
            <p:nvPr/>
          </p:nvSpPr>
          <p:spPr>
            <a:xfrm>
              <a:off x="14777224" y="1992581"/>
              <a:ext cx="360865" cy="406800"/>
            </a:xfrm>
            <a:custGeom>
              <a:avLst/>
              <a:gdLst>
                <a:gd name="connsiteX0" fmla="*/ 0 w 1111406"/>
                <a:gd name="connsiteY0" fmla="*/ 0 h 776645"/>
                <a:gd name="connsiteX1" fmla="*/ 1111407 w 1111406"/>
                <a:gd name="connsiteY1" fmla="*/ 0 h 776645"/>
                <a:gd name="connsiteX2" fmla="*/ 1111407 w 1111406"/>
                <a:gd name="connsiteY2" fmla="*/ 776646 h 776645"/>
                <a:gd name="connsiteX3" fmla="*/ 0 w 1111406"/>
                <a:gd name="connsiteY3" fmla="*/ 776646 h 776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11406" h="776645">
                  <a:moveTo>
                    <a:pt x="0" y="0"/>
                  </a:moveTo>
                  <a:lnTo>
                    <a:pt x="1111407" y="0"/>
                  </a:lnTo>
                  <a:lnTo>
                    <a:pt x="1111407" y="776646"/>
                  </a:lnTo>
                  <a:lnTo>
                    <a:pt x="0" y="776646"/>
                  </a:lnTo>
                  <a:close/>
                </a:path>
              </a:pathLst>
            </a:custGeom>
            <a:solidFill>
              <a:srgbClr val="00E0CB"/>
            </a:solidFill>
            <a:ln w="66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>
                  <a:latin typeface="Ubuntu" panose="020B0504030602030204" pitchFamily="34" charset="0"/>
                </a:rPr>
                <a:t>0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>
                  <a:latin typeface="Ubuntu" panose="020B0504030602030204" pitchFamily="34" charset="0"/>
                </a:rPr>
                <a:t>244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>
                  <a:latin typeface="Ubuntu" panose="020B0504030602030204" pitchFamily="34" charset="0"/>
                </a:rPr>
                <a:t>203</a:t>
              </a:r>
            </a:p>
          </p:txBody>
        </p:sp>
        <p:sp>
          <p:nvSpPr>
            <p:cNvPr id="71" name="Forme libre : forme 70">
              <a:extLst>
                <a:ext uri="{FF2B5EF4-FFF2-40B4-BE49-F238E27FC236}">
                  <a16:creationId xmlns:a16="http://schemas.microsoft.com/office/drawing/2014/main" id="{59DA3B5B-D788-45A0-A698-ABE05A9025B0}"/>
                </a:ext>
              </a:extLst>
            </p:cNvPr>
            <p:cNvSpPr/>
            <p:nvPr/>
          </p:nvSpPr>
          <p:spPr>
            <a:xfrm>
              <a:off x="14041053" y="3644581"/>
              <a:ext cx="360865" cy="406800"/>
            </a:xfrm>
            <a:custGeom>
              <a:avLst/>
              <a:gdLst>
                <a:gd name="connsiteX0" fmla="*/ 0 w 1111406"/>
                <a:gd name="connsiteY0" fmla="*/ 0 h 776645"/>
                <a:gd name="connsiteX1" fmla="*/ 1111407 w 1111406"/>
                <a:gd name="connsiteY1" fmla="*/ 0 h 776645"/>
                <a:gd name="connsiteX2" fmla="*/ 1111407 w 1111406"/>
                <a:gd name="connsiteY2" fmla="*/ 776646 h 776645"/>
                <a:gd name="connsiteX3" fmla="*/ 0 w 1111406"/>
                <a:gd name="connsiteY3" fmla="*/ 776646 h 776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11406" h="776645">
                  <a:moveTo>
                    <a:pt x="0" y="0"/>
                  </a:moveTo>
                  <a:lnTo>
                    <a:pt x="1111407" y="0"/>
                  </a:lnTo>
                  <a:lnTo>
                    <a:pt x="1111407" y="776646"/>
                  </a:lnTo>
                  <a:lnTo>
                    <a:pt x="0" y="776646"/>
                  </a:lnTo>
                  <a:close/>
                </a:path>
              </a:pathLst>
            </a:custGeom>
            <a:solidFill>
              <a:srgbClr val="178036"/>
            </a:solidFill>
            <a:ln w="66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>
                  <a:solidFill>
                    <a:schemeClr val="bg1"/>
                  </a:solidFill>
                  <a:latin typeface="Ubuntu" panose="020B0504030602030204" pitchFamily="34" charset="0"/>
                </a:rPr>
                <a:t>23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>
                  <a:solidFill>
                    <a:schemeClr val="bg1"/>
                  </a:solidFill>
                  <a:latin typeface="Ubuntu" panose="020B0504030602030204" pitchFamily="34" charset="0"/>
                </a:rPr>
                <a:t>128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>
                  <a:solidFill>
                    <a:schemeClr val="bg1"/>
                  </a:solidFill>
                  <a:latin typeface="Ubuntu" panose="020B0504030602030204" pitchFamily="34" charset="0"/>
                </a:rPr>
                <a:t>54</a:t>
              </a:r>
            </a:p>
          </p:txBody>
        </p:sp>
        <p:sp>
          <p:nvSpPr>
            <p:cNvPr id="72" name="Forme libre : forme 71">
              <a:extLst>
                <a:ext uri="{FF2B5EF4-FFF2-40B4-BE49-F238E27FC236}">
                  <a16:creationId xmlns:a16="http://schemas.microsoft.com/office/drawing/2014/main" id="{B988192C-3701-4200-ADA5-936C0610D953}"/>
                </a:ext>
              </a:extLst>
            </p:cNvPr>
            <p:cNvSpPr/>
            <p:nvPr/>
          </p:nvSpPr>
          <p:spPr>
            <a:xfrm>
              <a:off x="14041053" y="3231581"/>
              <a:ext cx="360865" cy="406800"/>
            </a:xfrm>
            <a:custGeom>
              <a:avLst/>
              <a:gdLst>
                <a:gd name="connsiteX0" fmla="*/ 0 w 1111406"/>
                <a:gd name="connsiteY0" fmla="*/ 0 h 776645"/>
                <a:gd name="connsiteX1" fmla="*/ 1111407 w 1111406"/>
                <a:gd name="connsiteY1" fmla="*/ 0 h 776645"/>
                <a:gd name="connsiteX2" fmla="*/ 1111407 w 1111406"/>
                <a:gd name="connsiteY2" fmla="*/ 776646 h 776645"/>
                <a:gd name="connsiteX3" fmla="*/ 0 w 1111406"/>
                <a:gd name="connsiteY3" fmla="*/ 776646 h 776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11406" h="776645">
                  <a:moveTo>
                    <a:pt x="0" y="0"/>
                  </a:moveTo>
                  <a:lnTo>
                    <a:pt x="1111407" y="0"/>
                  </a:lnTo>
                  <a:lnTo>
                    <a:pt x="1111407" y="776646"/>
                  </a:lnTo>
                  <a:lnTo>
                    <a:pt x="0" y="776646"/>
                  </a:lnTo>
                  <a:close/>
                </a:path>
              </a:pathLst>
            </a:custGeom>
            <a:solidFill>
              <a:srgbClr val="178C3D"/>
            </a:solidFill>
            <a:ln w="66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>
                  <a:solidFill>
                    <a:schemeClr val="bg1"/>
                  </a:solidFill>
                  <a:latin typeface="Ubuntu" panose="020B0504030602030204" pitchFamily="34" charset="0"/>
                </a:rPr>
                <a:t>23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>
                  <a:solidFill>
                    <a:schemeClr val="bg1"/>
                  </a:solidFill>
                  <a:latin typeface="Ubuntu" panose="020B0504030602030204" pitchFamily="34" charset="0"/>
                </a:rPr>
                <a:t>140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>
                  <a:solidFill>
                    <a:schemeClr val="bg1"/>
                  </a:solidFill>
                  <a:latin typeface="Ubuntu" panose="020B0504030602030204" pitchFamily="34" charset="0"/>
                </a:rPr>
                <a:t>61</a:t>
              </a:r>
            </a:p>
          </p:txBody>
        </p:sp>
        <p:sp>
          <p:nvSpPr>
            <p:cNvPr id="73" name="Forme libre : forme 72">
              <a:extLst>
                <a:ext uri="{FF2B5EF4-FFF2-40B4-BE49-F238E27FC236}">
                  <a16:creationId xmlns:a16="http://schemas.microsoft.com/office/drawing/2014/main" id="{FDFAC846-10F6-421E-8B39-673C784E01DE}"/>
                </a:ext>
              </a:extLst>
            </p:cNvPr>
            <p:cNvSpPr/>
            <p:nvPr/>
          </p:nvSpPr>
          <p:spPr>
            <a:xfrm>
              <a:off x="14041053" y="2818581"/>
              <a:ext cx="360865" cy="406800"/>
            </a:xfrm>
            <a:custGeom>
              <a:avLst/>
              <a:gdLst>
                <a:gd name="connsiteX0" fmla="*/ 0 w 1111406"/>
                <a:gd name="connsiteY0" fmla="*/ 0 h 1111407"/>
                <a:gd name="connsiteX1" fmla="*/ 1111407 w 1111406"/>
                <a:gd name="connsiteY1" fmla="*/ 0 h 1111407"/>
                <a:gd name="connsiteX2" fmla="*/ 1111407 w 1111406"/>
                <a:gd name="connsiteY2" fmla="*/ 1111407 h 1111407"/>
                <a:gd name="connsiteX3" fmla="*/ 0 w 1111406"/>
                <a:gd name="connsiteY3" fmla="*/ 1111407 h 11114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11406" h="1111407">
                  <a:moveTo>
                    <a:pt x="0" y="0"/>
                  </a:moveTo>
                  <a:lnTo>
                    <a:pt x="1111407" y="0"/>
                  </a:lnTo>
                  <a:lnTo>
                    <a:pt x="1111407" y="1111407"/>
                  </a:lnTo>
                  <a:lnTo>
                    <a:pt x="0" y="1111407"/>
                  </a:lnTo>
                  <a:close/>
                </a:path>
              </a:pathLst>
            </a:custGeom>
            <a:solidFill>
              <a:srgbClr val="2EA657"/>
            </a:solidFill>
            <a:ln w="66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>
                  <a:latin typeface="Ubuntu" panose="020B0504030602030204" pitchFamily="34" charset="0"/>
                </a:rPr>
                <a:t>46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>
                  <a:latin typeface="Ubuntu" panose="020B0504030602030204" pitchFamily="34" charset="0"/>
                </a:rPr>
                <a:t>166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>
                  <a:latin typeface="Ubuntu" panose="020B0504030602030204" pitchFamily="34" charset="0"/>
                </a:rPr>
                <a:t>87</a:t>
              </a:r>
            </a:p>
          </p:txBody>
        </p:sp>
        <p:sp>
          <p:nvSpPr>
            <p:cNvPr id="74" name="Forme libre : forme 73">
              <a:extLst>
                <a:ext uri="{FF2B5EF4-FFF2-40B4-BE49-F238E27FC236}">
                  <a16:creationId xmlns:a16="http://schemas.microsoft.com/office/drawing/2014/main" id="{353643F0-22F7-4B48-AE39-5FC8C334472F}"/>
                </a:ext>
              </a:extLst>
            </p:cNvPr>
            <p:cNvSpPr/>
            <p:nvPr/>
          </p:nvSpPr>
          <p:spPr>
            <a:xfrm>
              <a:off x="14041053" y="2405581"/>
              <a:ext cx="360865" cy="406800"/>
            </a:xfrm>
            <a:custGeom>
              <a:avLst/>
              <a:gdLst>
                <a:gd name="connsiteX0" fmla="*/ 0 w 1111406"/>
                <a:gd name="connsiteY0" fmla="*/ 0 h 776645"/>
                <a:gd name="connsiteX1" fmla="*/ 1111407 w 1111406"/>
                <a:gd name="connsiteY1" fmla="*/ 0 h 776645"/>
                <a:gd name="connsiteX2" fmla="*/ 1111407 w 1111406"/>
                <a:gd name="connsiteY2" fmla="*/ 776646 h 776645"/>
                <a:gd name="connsiteX3" fmla="*/ 0 w 1111406"/>
                <a:gd name="connsiteY3" fmla="*/ 776646 h 776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11406" h="776645">
                  <a:moveTo>
                    <a:pt x="0" y="0"/>
                  </a:moveTo>
                  <a:lnTo>
                    <a:pt x="1111407" y="0"/>
                  </a:lnTo>
                  <a:lnTo>
                    <a:pt x="1111407" y="776646"/>
                  </a:lnTo>
                  <a:lnTo>
                    <a:pt x="0" y="776646"/>
                  </a:lnTo>
                  <a:close/>
                </a:path>
              </a:pathLst>
            </a:custGeom>
            <a:solidFill>
              <a:srgbClr val="33B569"/>
            </a:solidFill>
            <a:ln w="66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>
                  <a:latin typeface="Ubuntu" panose="020B0504030602030204" pitchFamily="34" charset="0"/>
                </a:rPr>
                <a:t>51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>
                  <a:latin typeface="Ubuntu" panose="020B0504030602030204" pitchFamily="34" charset="0"/>
                </a:rPr>
                <a:t>181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>
                  <a:latin typeface="Ubuntu" panose="020B0504030602030204" pitchFamily="34" charset="0"/>
                </a:rPr>
                <a:t>105</a:t>
              </a:r>
            </a:p>
          </p:txBody>
        </p:sp>
        <p:sp>
          <p:nvSpPr>
            <p:cNvPr id="75" name="Forme libre : forme 74">
              <a:extLst>
                <a:ext uri="{FF2B5EF4-FFF2-40B4-BE49-F238E27FC236}">
                  <a16:creationId xmlns:a16="http://schemas.microsoft.com/office/drawing/2014/main" id="{33F41D49-321E-46F2-BE66-44E85399808F}"/>
                </a:ext>
              </a:extLst>
            </p:cNvPr>
            <p:cNvSpPr/>
            <p:nvPr/>
          </p:nvSpPr>
          <p:spPr>
            <a:xfrm>
              <a:off x="14041053" y="1992581"/>
              <a:ext cx="360865" cy="406800"/>
            </a:xfrm>
            <a:custGeom>
              <a:avLst/>
              <a:gdLst>
                <a:gd name="connsiteX0" fmla="*/ 0 w 1111406"/>
                <a:gd name="connsiteY0" fmla="*/ 0 h 776645"/>
                <a:gd name="connsiteX1" fmla="*/ 1111407 w 1111406"/>
                <a:gd name="connsiteY1" fmla="*/ 0 h 776645"/>
                <a:gd name="connsiteX2" fmla="*/ 1111407 w 1111406"/>
                <a:gd name="connsiteY2" fmla="*/ 776646 h 776645"/>
                <a:gd name="connsiteX3" fmla="*/ 0 w 1111406"/>
                <a:gd name="connsiteY3" fmla="*/ 776646 h 776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11406" h="776645">
                  <a:moveTo>
                    <a:pt x="0" y="0"/>
                  </a:moveTo>
                  <a:lnTo>
                    <a:pt x="1111407" y="0"/>
                  </a:lnTo>
                  <a:lnTo>
                    <a:pt x="1111407" y="776646"/>
                  </a:lnTo>
                  <a:lnTo>
                    <a:pt x="0" y="776646"/>
                  </a:lnTo>
                  <a:close/>
                </a:path>
              </a:pathLst>
            </a:custGeom>
            <a:solidFill>
              <a:srgbClr val="57CF80"/>
            </a:solidFill>
            <a:ln w="66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endParaRPr lang="en-US" sz="700" b="0">
                <a:latin typeface="Ubuntu" panose="020B0504030602030204" pitchFamily="34" charset="0"/>
              </a:endParaRP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>
                  <a:latin typeface="Ubuntu" panose="020B0504030602030204" pitchFamily="34" charset="0"/>
                </a:rPr>
                <a:t>87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>
                  <a:latin typeface="Ubuntu" panose="020B0504030602030204" pitchFamily="34" charset="0"/>
                </a:rPr>
                <a:t>207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>
                  <a:latin typeface="Ubuntu" panose="020B0504030602030204" pitchFamily="34" charset="0"/>
                </a:rPr>
                <a:t>128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endParaRPr lang="en-US" sz="700" b="0">
                <a:latin typeface="Ubuntu" panose="020B0504030602030204" pitchFamily="34" charset="0"/>
              </a:endParaRPr>
            </a:p>
          </p:txBody>
        </p:sp>
        <p:sp>
          <p:nvSpPr>
            <p:cNvPr id="76" name="Forme libre : forme 75">
              <a:extLst>
                <a:ext uri="{FF2B5EF4-FFF2-40B4-BE49-F238E27FC236}">
                  <a16:creationId xmlns:a16="http://schemas.microsoft.com/office/drawing/2014/main" id="{99A866AE-65FA-4F9E-98D0-E71681C14AC2}"/>
                </a:ext>
              </a:extLst>
            </p:cNvPr>
            <p:cNvSpPr/>
            <p:nvPr/>
          </p:nvSpPr>
          <p:spPr>
            <a:xfrm>
              <a:off x="15145311" y="3644581"/>
              <a:ext cx="360865" cy="406800"/>
            </a:xfrm>
            <a:custGeom>
              <a:avLst/>
              <a:gdLst>
                <a:gd name="connsiteX0" fmla="*/ 0 w 1111406"/>
                <a:gd name="connsiteY0" fmla="*/ 0 h 776645"/>
                <a:gd name="connsiteX1" fmla="*/ 1111407 w 1111406"/>
                <a:gd name="connsiteY1" fmla="*/ 0 h 776645"/>
                <a:gd name="connsiteX2" fmla="*/ 1111407 w 1111406"/>
                <a:gd name="connsiteY2" fmla="*/ 776646 h 776645"/>
                <a:gd name="connsiteX3" fmla="*/ 0 w 1111406"/>
                <a:gd name="connsiteY3" fmla="*/ 776646 h 776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11406" h="776645">
                  <a:moveTo>
                    <a:pt x="0" y="0"/>
                  </a:moveTo>
                  <a:lnTo>
                    <a:pt x="1111407" y="0"/>
                  </a:lnTo>
                  <a:lnTo>
                    <a:pt x="1111407" y="776646"/>
                  </a:lnTo>
                  <a:lnTo>
                    <a:pt x="0" y="776646"/>
                  </a:lnTo>
                  <a:close/>
                </a:path>
              </a:pathLst>
            </a:custGeom>
            <a:solidFill>
              <a:srgbClr val="173340"/>
            </a:solidFill>
            <a:ln w="66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>
                  <a:solidFill>
                    <a:schemeClr val="bg1"/>
                  </a:solidFill>
                  <a:latin typeface="Ubuntu" panose="020B0504030602030204" pitchFamily="34" charset="0"/>
                </a:rPr>
                <a:t>23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>
                  <a:solidFill>
                    <a:schemeClr val="bg1"/>
                  </a:solidFill>
                  <a:latin typeface="Ubuntu" panose="020B0504030602030204" pitchFamily="34" charset="0"/>
                </a:rPr>
                <a:t>51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>
                  <a:solidFill>
                    <a:schemeClr val="bg1"/>
                  </a:solidFill>
                  <a:latin typeface="Ubuntu" panose="020B0504030602030204" pitchFamily="34" charset="0"/>
                </a:rPr>
                <a:t>64</a:t>
              </a:r>
            </a:p>
          </p:txBody>
        </p:sp>
        <p:sp>
          <p:nvSpPr>
            <p:cNvPr id="77" name="Forme libre : forme 76">
              <a:extLst>
                <a:ext uri="{FF2B5EF4-FFF2-40B4-BE49-F238E27FC236}">
                  <a16:creationId xmlns:a16="http://schemas.microsoft.com/office/drawing/2014/main" id="{FF63074E-4AF4-4930-9679-FD2D7A0F2A11}"/>
                </a:ext>
              </a:extLst>
            </p:cNvPr>
            <p:cNvSpPr/>
            <p:nvPr/>
          </p:nvSpPr>
          <p:spPr>
            <a:xfrm>
              <a:off x="15145311" y="3231581"/>
              <a:ext cx="360865" cy="406800"/>
            </a:xfrm>
            <a:custGeom>
              <a:avLst/>
              <a:gdLst>
                <a:gd name="connsiteX0" fmla="*/ 0 w 1111406"/>
                <a:gd name="connsiteY0" fmla="*/ 0 h 776645"/>
                <a:gd name="connsiteX1" fmla="*/ 1111407 w 1111406"/>
                <a:gd name="connsiteY1" fmla="*/ 0 h 776645"/>
                <a:gd name="connsiteX2" fmla="*/ 1111407 w 1111406"/>
                <a:gd name="connsiteY2" fmla="*/ 776646 h 776645"/>
                <a:gd name="connsiteX3" fmla="*/ 0 w 1111406"/>
                <a:gd name="connsiteY3" fmla="*/ 776646 h 776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11406" h="776645">
                  <a:moveTo>
                    <a:pt x="0" y="0"/>
                  </a:moveTo>
                  <a:lnTo>
                    <a:pt x="1111407" y="0"/>
                  </a:lnTo>
                  <a:lnTo>
                    <a:pt x="1111407" y="776646"/>
                  </a:lnTo>
                  <a:lnTo>
                    <a:pt x="0" y="776646"/>
                  </a:lnTo>
                  <a:close/>
                </a:path>
              </a:pathLst>
            </a:custGeom>
            <a:solidFill>
              <a:srgbClr val="214554"/>
            </a:solidFill>
            <a:ln w="66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>
                  <a:solidFill>
                    <a:schemeClr val="bg1"/>
                  </a:solidFill>
                  <a:latin typeface="Ubuntu" panose="020B0504030602030204" pitchFamily="34" charset="0"/>
                </a:rPr>
                <a:t>33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>
                  <a:solidFill>
                    <a:schemeClr val="bg1"/>
                  </a:solidFill>
                  <a:latin typeface="Ubuntu" panose="020B0504030602030204" pitchFamily="34" charset="0"/>
                </a:rPr>
                <a:t>69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>
                  <a:solidFill>
                    <a:schemeClr val="bg1"/>
                  </a:solidFill>
                  <a:latin typeface="Ubuntu" panose="020B0504030602030204" pitchFamily="34" charset="0"/>
                </a:rPr>
                <a:t>84</a:t>
              </a:r>
            </a:p>
          </p:txBody>
        </p:sp>
        <p:sp>
          <p:nvSpPr>
            <p:cNvPr id="78" name="Forme libre : forme 77">
              <a:extLst>
                <a:ext uri="{FF2B5EF4-FFF2-40B4-BE49-F238E27FC236}">
                  <a16:creationId xmlns:a16="http://schemas.microsoft.com/office/drawing/2014/main" id="{56DB4C49-7593-476E-9314-2444B469873A}"/>
                </a:ext>
              </a:extLst>
            </p:cNvPr>
            <p:cNvSpPr/>
            <p:nvPr/>
          </p:nvSpPr>
          <p:spPr>
            <a:xfrm>
              <a:off x="15145311" y="2818581"/>
              <a:ext cx="360865" cy="406800"/>
            </a:xfrm>
            <a:custGeom>
              <a:avLst/>
              <a:gdLst>
                <a:gd name="connsiteX0" fmla="*/ 0 w 1111406"/>
                <a:gd name="connsiteY0" fmla="*/ 0 h 1111407"/>
                <a:gd name="connsiteX1" fmla="*/ 1111407 w 1111406"/>
                <a:gd name="connsiteY1" fmla="*/ 0 h 1111407"/>
                <a:gd name="connsiteX2" fmla="*/ 1111407 w 1111406"/>
                <a:gd name="connsiteY2" fmla="*/ 1111407 h 1111407"/>
                <a:gd name="connsiteX3" fmla="*/ 0 w 1111406"/>
                <a:gd name="connsiteY3" fmla="*/ 1111407 h 11114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11406" h="1111407">
                  <a:moveTo>
                    <a:pt x="0" y="0"/>
                  </a:moveTo>
                  <a:lnTo>
                    <a:pt x="1111407" y="0"/>
                  </a:lnTo>
                  <a:lnTo>
                    <a:pt x="1111407" y="1111407"/>
                  </a:lnTo>
                  <a:lnTo>
                    <a:pt x="0" y="1111407"/>
                  </a:lnTo>
                  <a:close/>
                </a:path>
              </a:pathLst>
            </a:custGeom>
            <a:solidFill>
              <a:srgbClr val="14596B"/>
            </a:solidFill>
            <a:ln w="66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>
                  <a:solidFill>
                    <a:schemeClr val="bg1"/>
                  </a:solidFill>
                  <a:latin typeface="Ubuntu" panose="020B0504030602030204" pitchFamily="34" charset="0"/>
                </a:rPr>
                <a:t>20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>
                  <a:solidFill>
                    <a:schemeClr val="bg1"/>
                  </a:solidFill>
                  <a:latin typeface="Ubuntu" panose="020B0504030602030204" pitchFamily="34" charset="0"/>
                </a:rPr>
                <a:t>89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>
                  <a:solidFill>
                    <a:schemeClr val="bg1"/>
                  </a:solidFill>
                  <a:latin typeface="Ubuntu" panose="020B0504030602030204" pitchFamily="34" charset="0"/>
                </a:rPr>
                <a:t>107</a:t>
              </a:r>
            </a:p>
          </p:txBody>
        </p:sp>
        <p:sp>
          <p:nvSpPr>
            <p:cNvPr id="79" name="Forme libre : forme 78">
              <a:extLst>
                <a:ext uri="{FF2B5EF4-FFF2-40B4-BE49-F238E27FC236}">
                  <a16:creationId xmlns:a16="http://schemas.microsoft.com/office/drawing/2014/main" id="{82B57E86-9AA1-49BE-93E7-6C1DB4AFDDF9}"/>
                </a:ext>
              </a:extLst>
            </p:cNvPr>
            <p:cNvSpPr/>
            <p:nvPr/>
          </p:nvSpPr>
          <p:spPr>
            <a:xfrm>
              <a:off x="15145311" y="2405581"/>
              <a:ext cx="360865" cy="406800"/>
            </a:xfrm>
            <a:custGeom>
              <a:avLst/>
              <a:gdLst>
                <a:gd name="connsiteX0" fmla="*/ 0 w 1111406"/>
                <a:gd name="connsiteY0" fmla="*/ 0 h 776645"/>
                <a:gd name="connsiteX1" fmla="*/ 1111407 w 1111406"/>
                <a:gd name="connsiteY1" fmla="*/ 0 h 776645"/>
                <a:gd name="connsiteX2" fmla="*/ 1111407 w 1111406"/>
                <a:gd name="connsiteY2" fmla="*/ 776646 h 776645"/>
                <a:gd name="connsiteX3" fmla="*/ 0 w 1111406"/>
                <a:gd name="connsiteY3" fmla="*/ 776646 h 776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11406" h="776645">
                  <a:moveTo>
                    <a:pt x="0" y="0"/>
                  </a:moveTo>
                  <a:lnTo>
                    <a:pt x="1111407" y="0"/>
                  </a:lnTo>
                  <a:lnTo>
                    <a:pt x="1111407" y="776646"/>
                  </a:lnTo>
                  <a:lnTo>
                    <a:pt x="0" y="776646"/>
                  </a:lnTo>
                  <a:close/>
                </a:path>
              </a:pathLst>
            </a:custGeom>
            <a:solidFill>
              <a:srgbClr val="336B7D"/>
            </a:solidFill>
            <a:ln w="66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>
                  <a:solidFill>
                    <a:schemeClr val="bg1"/>
                  </a:solidFill>
                  <a:latin typeface="Ubuntu" panose="020B0504030602030204" pitchFamily="34" charset="0"/>
                </a:rPr>
                <a:t>51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>
                  <a:solidFill>
                    <a:schemeClr val="bg1"/>
                  </a:solidFill>
                  <a:latin typeface="Ubuntu" panose="020B0504030602030204" pitchFamily="34" charset="0"/>
                </a:rPr>
                <a:t>107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>
                  <a:solidFill>
                    <a:schemeClr val="bg1"/>
                  </a:solidFill>
                  <a:latin typeface="Ubuntu" panose="020B0504030602030204" pitchFamily="34" charset="0"/>
                </a:rPr>
                <a:t>25</a:t>
              </a:r>
            </a:p>
          </p:txBody>
        </p:sp>
        <p:sp>
          <p:nvSpPr>
            <p:cNvPr id="80" name="Forme libre : forme 79">
              <a:extLst>
                <a:ext uri="{FF2B5EF4-FFF2-40B4-BE49-F238E27FC236}">
                  <a16:creationId xmlns:a16="http://schemas.microsoft.com/office/drawing/2014/main" id="{F58D84FF-3235-47A7-A015-65B66A7E9528}"/>
                </a:ext>
              </a:extLst>
            </p:cNvPr>
            <p:cNvSpPr/>
            <p:nvPr/>
          </p:nvSpPr>
          <p:spPr>
            <a:xfrm>
              <a:off x="15145311" y="1992581"/>
              <a:ext cx="360865" cy="406800"/>
            </a:xfrm>
            <a:custGeom>
              <a:avLst/>
              <a:gdLst>
                <a:gd name="connsiteX0" fmla="*/ 0 w 1111406"/>
                <a:gd name="connsiteY0" fmla="*/ 0 h 776645"/>
                <a:gd name="connsiteX1" fmla="*/ 1111407 w 1111406"/>
                <a:gd name="connsiteY1" fmla="*/ 0 h 776645"/>
                <a:gd name="connsiteX2" fmla="*/ 1111407 w 1111406"/>
                <a:gd name="connsiteY2" fmla="*/ 776646 h 776645"/>
                <a:gd name="connsiteX3" fmla="*/ 0 w 1111406"/>
                <a:gd name="connsiteY3" fmla="*/ 776646 h 776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11406" h="776645">
                  <a:moveTo>
                    <a:pt x="0" y="0"/>
                  </a:moveTo>
                  <a:lnTo>
                    <a:pt x="1111407" y="0"/>
                  </a:lnTo>
                  <a:lnTo>
                    <a:pt x="1111407" y="776646"/>
                  </a:lnTo>
                  <a:lnTo>
                    <a:pt x="0" y="776646"/>
                  </a:lnTo>
                  <a:close/>
                </a:path>
              </a:pathLst>
            </a:custGeom>
            <a:solidFill>
              <a:srgbClr val="338091"/>
            </a:solidFill>
            <a:ln w="66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>
                  <a:solidFill>
                    <a:schemeClr val="bg1"/>
                  </a:solidFill>
                  <a:latin typeface="Ubuntu" panose="020B0504030602030204" pitchFamily="34" charset="0"/>
                </a:rPr>
                <a:t>51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>
                  <a:solidFill>
                    <a:schemeClr val="bg1"/>
                  </a:solidFill>
                  <a:latin typeface="Ubuntu" panose="020B0504030602030204" pitchFamily="34" charset="0"/>
                </a:rPr>
                <a:t>128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>
                  <a:solidFill>
                    <a:schemeClr val="bg1"/>
                  </a:solidFill>
                  <a:latin typeface="Ubuntu" panose="020B0504030602030204" pitchFamily="34" charset="0"/>
                </a:rPr>
                <a:t>145</a:t>
              </a:r>
            </a:p>
          </p:txBody>
        </p:sp>
        <p:sp>
          <p:nvSpPr>
            <p:cNvPr id="81" name="Forme libre : forme 80">
              <a:extLst>
                <a:ext uri="{FF2B5EF4-FFF2-40B4-BE49-F238E27FC236}">
                  <a16:creationId xmlns:a16="http://schemas.microsoft.com/office/drawing/2014/main" id="{0C2FDFFD-39D1-4054-899F-2527AF6109D7}"/>
                </a:ext>
              </a:extLst>
            </p:cNvPr>
            <p:cNvSpPr/>
            <p:nvPr/>
          </p:nvSpPr>
          <p:spPr>
            <a:xfrm>
              <a:off x="14408740" y="3644581"/>
              <a:ext cx="360865" cy="406800"/>
            </a:xfrm>
            <a:custGeom>
              <a:avLst/>
              <a:gdLst>
                <a:gd name="connsiteX0" fmla="*/ 0 w 1111406"/>
                <a:gd name="connsiteY0" fmla="*/ 0 h 776645"/>
                <a:gd name="connsiteX1" fmla="*/ 1111407 w 1111406"/>
                <a:gd name="connsiteY1" fmla="*/ 0 h 776645"/>
                <a:gd name="connsiteX2" fmla="*/ 1111407 w 1111406"/>
                <a:gd name="connsiteY2" fmla="*/ 776646 h 776645"/>
                <a:gd name="connsiteX3" fmla="*/ 0 w 1111406"/>
                <a:gd name="connsiteY3" fmla="*/ 776646 h 776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11406" h="776645">
                  <a:moveTo>
                    <a:pt x="0" y="0"/>
                  </a:moveTo>
                  <a:lnTo>
                    <a:pt x="1111407" y="0"/>
                  </a:lnTo>
                  <a:lnTo>
                    <a:pt x="1111407" y="776646"/>
                  </a:lnTo>
                  <a:lnTo>
                    <a:pt x="0" y="776646"/>
                  </a:lnTo>
                  <a:close/>
                </a:path>
              </a:pathLst>
            </a:custGeom>
            <a:solidFill>
              <a:srgbClr val="007D74"/>
            </a:solidFill>
            <a:ln w="66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>
                  <a:solidFill>
                    <a:schemeClr val="bg1"/>
                  </a:solidFill>
                  <a:latin typeface="Ubuntu" panose="020B0504030602030204" pitchFamily="34" charset="0"/>
                </a:rPr>
                <a:t>0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>
                  <a:solidFill>
                    <a:schemeClr val="bg1"/>
                  </a:solidFill>
                  <a:latin typeface="Ubuntu" panose="020B0504030602030204" pitchFamily="34" charset="0"/>
                </a:rPr>
                <a:t>125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>
                  <a:solidFill>
                    <a:schemeClr val="bg1"/>
                  </a:solidFill>
                  <a:latin typeface="Ubuntu" panose="020B0504030602030204" pitchFamily="34" charset="0"/>
                </a:rPr>
                <a:t>116</a:t>
              </a:r>
            </a:p>
          </p:txBody>
        </p:sp>
        <p:sp>
          <p:nvSpPr>
            <p:cNvPr id="82" name="Forme libre : forme 81">
              <a:extLst>
                <a:ext uri="{FF2B5EF4-FFF2-40B4-BE49-F238E27FC236}">
                  <a16:creationId xmlns:a16="http://schemas.microsoft.com/office/drawing/2014/main" id="{3B4493E8-9680-4EA3-9A68-6174B5ADF266}"/>
                </a:ext>
              </a:extLst>
            </p:cNvPr>
            <p:cNvSpPr/>
            <p:nvPr/>
          </p:nvSpPr>
          <p:spPr>
            <a:xfrm>
              <a:off x="14408740" y="3231581"/>
              <a:ext cx="360865" cy="406800"/>
            </a:xfrm>
            <a:custGeom>
              <a:avLst/>
              <a:gdLst>
                <a:gd name="connsiteX0" fmla="*/ 0 w 1111406"/>
                <a:gd name="connsiteY0" fmla="*/ 0 h 776645"/>
                <a:gd name="connsiteX1" fmla="*/ 1111407 w 1111406"/>
                <a:gd name="connsiteY1" fmla="*/ 0 h 776645"/>
                <a:gd name="connsiteX2" fmla="*/ 1111407 w 1111406"/>
                <a:gd name="connsiteY2" fmla="*/ 776646 h 776645"/>
                <a:gd name="connsiteX3" fmla="*/ 0 w 1111406"/>
                <a:gd name="connsiteY3" fmla="*/ 776646 h 776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11406" h="776645">
                  <a:moveTo>
                    <a:pt x="0" y="0"/>
                  </a:moveTo>
                  <a:lnTo>
                    <a:pt x="1111407" y="0"/>
                  </a:lnTo>
                  <a:lnTo>
                    <a:pt x="1111407" y="776646"/>
                  </a:lnTo>
                  <a:lnTo>
                    <a:pt x="0" y="776646"/>
                  </a:lnTo>
                  <a:close/>
                </a:path>
              </a:pathLst>
            </a:custGeom>
            <a:solidFill>
              <a:srgbClr val="00929B"/>
            </a:solidFill>
            <a:ln w="66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>
                  <a:solidFill>
                    <a:schemeClr val="bg1"/>
                  </a:solidFill>
                  <a:latin typeface="Ubuntu" panose="020B0504030602030204" pitchFamily="34" charset="0"/>
                </a:rPr>
                <a:t>0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>
                  <a:solidFill>
                    <a:schemeClr val="bg1"/>
                  </a:solidFill>
                  <a:latin typeface="Ubuntu" panose="020B0504030602030204" pitchFamily="34" charset="0"/>
                </a:rPr>
                <a:t>146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>
                  <a:solidFill>
                    <a:schemeClr val="bg1"/>
                  </a:solidFill>
                  <a:latin typeface="Ubuntu" panose="020B0504030602030204" pitchFamily="34" charset="0"/>
                </a:rPr>
                <a:t>155</a:t>
              </a:r>
            </a:p>
          </p:txBody>
        </p:sp>
        <p:sp>
          <p:nvSpPr>
            <p:cNvPr id="83" name="Forme libre : forme 82">
              <a:extLst>
                <a:ext uri="{FF2B5EF4-FFF2-40B4-BE49-F238E27FC236}">
                  <a16:creationId xmlns:a16="http://schemas.microsoft.com/office/drawing/2014/main" id="{B4B6B943-D34B-48B2-95E0-76C5F8BA25FA}"/>
                </a:ext>
              </a:extLst>
            </p:cNvPr>
            <p:cNvSpPr/>
            <p:nvPr/>
          </p:nvSpPr>
          <p:spPr>
            <a:xfrm>
              <a:off x="14408740" y="2818581"/>
              <a:ext cx="360865" cy="406800"/>
            </a:xfrm>
            <a:custGeom>
              <a:avLst/>
              <a:gdLst>
                <a:gd name="connsiteX0" fmla="*/ 0 w 1111406"/>
                <a:gd name="connsiteY0" fmla="*/ 0 h 1111407"/>
                <a:gd name="connsiteX1" fmla="*/ 1111407 w 1111406"/>
                <a:gd name="connsiteY1" fmla="*/ 0 h 1111407"/>
                <a:gd name="connsiteX2" fmla="*/ 1111407 w 1111406"/>
                <a:gd name="connsiteY2" fmla="*/ 1111407 h 1111407"/>
                <a:gd name="connsiteX3" fmla="*/ 0 w 1111406"/>
                <a:gd name="connsiteY3" fmla="*/ 1111407 h 11114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11406" h="1111407">
                  <a:moveTo>
                    <a:pt x="0" y="0"/>
                  </a:moveTo>
                  <a:lnTo>
                    <a:pt x="1111407" y="0"/>
                  </a:lnTo>
                  <a:lnTo>
                    <a:pt x="1111407" y="1111407"/>
                  </a:lnTo>
                  <a:lnTo>
                    <a:pt x="0" y="1111407"/>
                  </a:lnTo>
                  <a:close/>
                </a:path>
              </a:pathLst>
            </a:custGeom>
            <a:solidFill>
              <a:srgbClr val="00BFBF"/>
            </a:solidFill>
            <a:ln w="66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>
                  <a:latin typeface="Ubuntu" panose="020B0504030602030204" pitchFamily="34" charset="0"/>
                </a:rPr>
                <a:t>0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>
                  <a:latin typeface="Ubuntu" panose="020B0504030602030204" pitchFamily="34" charset="0"/>
                </a:rPr>
                <a:t>191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>
                  <a:latin typeface="Ubuntu" panose="020B0504030602030204" pitchFamily="34" charset="0"/>
                </a:rPr>
                <a:t>191</a:t>
              </a:r>
            </a:p>
          </p:txBody>
        </p:sp>
        <p:sp>
          <p:nvSpPr>
            <p:cNvPr id="84" name="Forme libre : forme 83">
              <a:extLst>
                <a:ext uri="{FF2B5EF4-FFF2-40B4-BE49-F238E27FC236}">
                  <a16:creationId xmlns:a16="http://schemas.microsoft.com/office/drawing/2014/main" id="{B434FFE6-E50A-4EA9-83D4-F9F4917BBCB8}"/>
                </a:ext>
              </a:extLst>
            </p:cNvPr>
            <p:cNvSpPr/>
            <p:nvPr/>
          </p:nvSpPr>
          <p:spPr>
            <a:xfrm>
              <a:off x="14408740" y="2405581"/>
              <a:ext cx="360865" cy="406800"/>
            </a:xfrm>
            <a:custGeom>
              <a:avLst/>
              <a:gdLst>
                <a:gd name="connsiteX0" fmla="*/ 0 w 1111406"/>
                <a:gd name="connsiteY0" fmla="*/ 0 h 776645"/>
                <a:gd name="connsiteX1" fmla="*/ 1111407 w 1111406"/>
                <a:gd name="connsiteY1" fmla="*/ 0 h 776645"/>
                <a:gd name="connsiteX2" fmla="*/ 1111407 w 1111406"/>
                <a:gd name="connsiteY2" fmla="*/ 776646 h 776645"/>
                <a:gd name="connsiteX3" fmla="*/ 0 w 1111406"/>
                <a:gd name="connsiteY3" fmla="*/ 776646 h 776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11406" h="776645">
                  <a:moveTo>
                    <a:pt x="0" y="0"/>
                  </a:moveTo>
                  <a:lnTo>
                    <a:pt x="1111407" y="0"/>
                  </a:lnTo>
                  <a:lnTo>
                    <a:pt x="1111407" y="776646"/>
                  </a:lnTo>
                  <a:lnTo>
                    <a:pt x="0" y="776646"/>
                  </a:lnTo>
                  <a:close/>
                </a:path>
              </a:pathLst>
            </a:custGeom>
            <a:solidFill>
              <a:srgbClr val="00D5D0"/>
            </a:solidFill>
            <a:ln w="66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>
                  <a:latin typeface="Ubuntu" panose="020B0504030602030204" pitchFamily="34" charset="0"/>
                </a:rPr>
                <a:t>0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>
                  <a:latin typeface="Ubuntu" panose="020B0504030602030204" pitchFamily="34" charset="0"/>
                </a:rPr>
                <a:t>213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>
                  <a:latin typeface="Ubuntu" panose="020B0504030602030204" pitchFamily="34" charset="0"/>
                </a:rPr>
                <a:t>208</a:t>
              </a:r>
            </a:p>
          </p:txBody>
        </p:sp>
        <p:sp>
          <p:nvSpPr>
            <p:cNvPr id="85" name="Forme libre : forme 84">
              <a:extLst>
                <a:ext uri="{FF2B5EF4-FFF2-40B4-BE49-F238E27FC236}">
                  <a16:creationId xmlns:a16="http://schemas.microsoft.com/office/drawing/2014/main" id="{E0BE1B97-A7F2-4E15-8D45-CD3F50622B5F}"/>
                </a:ext>
              </a:extLst>
            </p:cNvPr>
            <p:cNvSpPr/>
            <p:nvPr/>
          </p:nvSpPr>
          <p:spPr>
            <a:xfrm>
              <a:off x="14408740" y="1992581"/>
              <a:ext cx="360865" cy="406800"/>
            </a:xfrm>
            <a:custGeom>
              <a:avLst/>
              <a:gdLst>
                <a:gd name="connsiteX0" fmla="*/ 0 w 1111406"/>
                <a:gd name="connsiteY0" fmla="*/ 0 h 776645"/>
                <a:gd name="connsiteX1" fmla="*/ 1111407 w 1111406"/>
                <a:gd name="connsiteY1" fmla="*/ 0 h 776645"/>
                <a:gd name="connsiteX2" fmla="*/ 1111407 w 1111406"/>
                <a:gd name="connsiteY2" fmla="*/ 776646 h 776645"/>
                <a:gd name="connsiteX3" fmla="*/ 0 w 1111406"/>
                <a:gd name="connsiteY3" fmla="*/ 776646 h 776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11406" h="776645">
                  <a:moveTo>
                    <a:pt x="0" y="0"/>
                  </a:moveTo>
                  <a:lnTo>
                    <a:pt x="1111407" y="0"/>
                  </a:lnTo>
                  <a:lnTo>
                    <a:pt x="1111407" y="776646"/>
                  </a:lnTo>
                  <a:lnTo>
                    <a:pt x="0" y="776646"/>
                  </a:lnTo>
                  <a:close/>
                </a:path>
              </a:pathLst>
            </a:custGeom>
            <a:solidFill>
              <a:srgbClr val="00E6E3"/>
            </a:solidFill>
            <a:ln w="66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>
                  <a:latin typeface="Ubuntu" panose="020B0504030602030204" pitchFamily="34" charset="0"/>
                </a:rPr>
                <a:t>0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>
                  <a:latin typeface="Ubuntu" panose="020B0504030602030204" pitchFamily="34" charset="0"/>
                </a:rPr>
                <a:t>230</a:t>
              </a:r>
            </a:p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700" b="0">
                  <a:latin typeface="Ubuntu" panose="020B0504030602030204" pitchFamily="34" charset="0"/>
                </a:rPr>
                <a:t>227</a:t>
              </a:r>
            </a:p>
          </p:txBody>
        </p:sp>
      </p:grpSp>
      <p:sp>
        <p:nvSpPr>
          <p:cNvPr id="86" name="Retângulo 43">
            <a:extLst>
              <a:ext uri="{FF2B5EF4-FFF2-40B4-BE49-F238E27FC236}">
                <a16:creationId xmlns:a16="http://schemas.microsoft.com/office/drawing/2014/main" id="{5539996C-DD2A-49D6-AFB0-763FCB2EE440}"/>
              </a:ext>
            </a:extLst>
          </p:cNvPr>
          <p:cNvSpPr/>
          <p:nvPr userDrawn="1"/>
        </p:nvSpPr>
        <p:spPr>
          <a:xfrm>
            <a:off x="11744128" y="6517658"/>
            <a:ext cx="229263" cy="215444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/>
                </a:solidFill>
                <a:latin typeface="Ubuntu" panose="020B0504030602030204" pitchFamily="34" charset="0"/>
                <a:cs typeface="Arial" panose="020B0604020202020204" pitchFamily="34" charset="0"/>
              </a:rPr>
              <a:pPr algn="r"/>
              <a:t>‹#›</a:t>
            </a:fld>
            <a:endParaRPr lang="en-US" sz="800">
              <a:solidFill>
                <a:schemeClr val="bg1"/>
              </a:solidFill>
              <a:latin typeface="Ubuntu" panose="020B0504030602030204" pitchFamily="34" charset="0"/>
              <a:cs typeface="Arial" panose="020B0604020202020204" pitchFamily="34" charset="0"/>
            </a:endParaRPr>
          </a:p>
        </p:txBody>
      </p:sp>
      <p:sp>
        <p:nvSpPr>
          <p:cNvPr id="89" name="Rectangle 27">
            <a:extLst>
              <a:ext uri="{FF2B5EF4-FFF2-40B4-BE49-F238E27FC236}">
                <a16:creationId xmlns:a16="http://schemas.microsoft.com/office/drawing/2014/main" id="{01D50803-B26A-4936-A06C-6E086A6DD719}"/>
              </a:ext>
            </a:extLst>
          </p:cNvPr>
          <p:cNvSpPr/>
          <p:nvPr userDrawn="1"/>
        </p:nvSpPr>
        <p:spPr>
          <a:xfrm>
            <a:off x="7227070" y="6517871"/>
            <a:ext cx="4532162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700">
                <a:solidFill>
                  <a:srgbClr val="A6A6A6"/>
                </a:solidFill>
                <a:latin typeface="Ubuntu" panose="020B0504030602030204" pitchFamily="34" charset="0"/>
                <a:cs typeface="Arial" panose="020B0604020202020204" pitchFamily="34" charset="0"/>
              </a:rPr>
              <a:t>Company Confidential © Capgemini 2023. All rights reserved |</a:t>
            </a:r>
          </a:p>
        </p:txBody>
      </p:sp>
      <p:grpSp>
        <p:nvGrpSpPr>
          <p:cNvPr id="94" name="Groupe 1">
            <a:extLst>
              <a:ext uri="{FF2B5EF4-FFF2-40B4-BE49-F238E27FC236}">
                <a16:creationId xmlns:a16="http://schemas.microsoft.com/office/drawing/2014/main" id="{11A3E882-4152-49CC-A658-0BA2BD4CCF4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562163" y="205059"/>
            <a:ext cx="419436" cy="388988"/>
            <a:chOff x="11501102" y="171573"/>
            <a:chExt cx="419436" cy="388988"/>
          </a:xfrm>
        </p:grpSpPr>
        <p:sp>
          <p:nvSpPr>
            <p:cNvPr id="95" name="Freeform 13">
              <a:extLst>
                <a:ext uri="{FF2B5EF4-FFF2-40B4-BE49-F238E27FC236}">
                  <a16:creationId xmlns:a16="http://schemas.microsoft.com/office/drawing/2014/main" id="{7962C740-AA7F-4225-AF45-30CEC5D8574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" name="Freeform 14">
              <a:extLst>
                <a:ext uri="{FF2B5EF4-FFF2-40B4-BE49-F238E27FC236}">
                  <a16:creationId xmlns:a16="http://schemas.microsoft.com/office/drawing/2014/main" id="{8B6BE8F3-0248-42CC-8053-5B10FA1A64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" name="Rectangle 27">
            <a:extLst>
              <a:ext uri="{FF2B5EF4-FFF2-40B4-BE49-F238E27FC236}">
                <a16:creationId xmlns:a16="http://schemas.microsoft.com/office/drawing/2014/main" id="{17455AF6-6729-0983-7A27-958AD6DD5AC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04813" y="6518275"/>
            <a:ext cx="371422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Ubuntu" panose="020B0504030602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Ubuntu" panose="020B0504030602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Ubuntu" panose="020B0504030602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Ubuntu" panose="020B0504030602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Ubuntu" panose="020B0504030602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Ubuntu" panose="020B0504030602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Ubuntu" panose="020B0504030602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Ubuntu" panose="020B0504030602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Ubuntu" panose="020B0504030602030204" pitchFamily="34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0" err="1">
                <a:solidFill>
                  <a:srgbClr val="A6A6A6"/>
                </a:solidFill>
                <a:latin typeface="Ubuntu" panose="020B0504030602030204" pitchFamily="34" charset="0"/>
                <a:cs typeface="Arial" panose="020B0604020202020204" pitchFamily="34" charset="0"/>
              </a:rPr>
              <a:t>DevSecOps</a:t>
            </a:r>
            <a:r>
              <a:rPr lang="en-US" sz="700" kern="0">
                <a:solidFill>
                  <a:srgbClr val="A6A6A6"/>
                </a:solidFill>
                <a:latin typeface="Ubuntu" panose="020B0504030602030204" pitchFamily="34" charset="0"/>
                <a:cs typeface="Arial" panose="020B0604020202020204" pitchFamily="34" charset="0"/>
              </a:rPr>
              <a:t> Capabilities</a:t>
            </a:r>
          </a:p>
        </p:txBody>
      </p:sp>
    </p:spTree>
    <p:extLst>
      <p:ext uri="{BB962C8B-B14F-4D97-AF65-F5344CB8AC3E}">
        <p14:creationId xmlns:p14="http://schemas.microsoft.com/office/powerpoint/2010/main" val="9032675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9" r:id="rId3"/>
    <p:sldLayoutId id="2147483710" r:id="rId4"/>
    <p:sldLayoutId id="2147483711" r:id="rId5"/>
    <p:sldLayoutId id="2147483712" r:id="rId6"/>
    <p:sldLayoutId id="2147483713" r:id="rId7"/>
    <p:sldLayoutId id="2147483714" r:id="rId8"/>
    <p:sldLayoutId id="2147483715" r:id="rId9"/>
    <p:sldLayoutId id="2147483716" r:id="rId10"/>
    <p:sldLayoutId id="2147483717" r:id="rId11"/>
    <p:sldLayoutId id="2147483718" r:id="rId12"/>
    <p:sldLayoutId id="2147483719" r:id="rId13"/>
    <p:sldLayoutId id="2147483751" r:id="rId14"/>
  </p:sldLayoutIdLst>
  <p:hf hdr="0"/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2000" b="0" i="0" u="none" strike="noStrike" kern="1200" cap="all" spc="0" normalizeH="0" baseline="0" noProof="0" dirty="0">
          <a:ln>
            <a:noFill/>
          </a:ln>
          <a:solidFill>
            <a:schemeClr val="accent4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000" kern="1200" baseline="0">
          <a:solidFill>
            <a:schemeClr val="tx1"/>
          </a:solidFill>
          <a:latin typeface="Ubuntu" panose="020B0504030602030204" pitchFamily="34" charset="0"/>
          <a:ea typeface="+mn-ea"/>
          <a:cs typeface="+mn-cs"/>
        </a:defRPr>
      </a:lvl1pPr>
      <a:lvl2pPr marL="17780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800" kern="1200" baseline="0">
          <a:solidFill>
            <a:schemeClr val="tx1"/>
          </a:solidFill>
          <a:latin typeface="Ubuntu" panose="020B0504030602030204" pitchFamily="34" charset="0"/>
          <a:ea typeface="+mn-ea"/>
          <a:cs typeface="+mn-cs"/>
        </a:defRPr>
      </a:lvl2pPr>
      <a:lvl3pPr marL="361950" indent="-18415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anose="020B0604020202020204" pitchFamily="34" charset="0"/>
        <a:buChar char="•"/>
        <a:defRPr sz="1600" kern="1200" baseline="0">
          <a:solidFill>
            <a:schemeClr val="tx1"/>
          </a:solidFill>
          <a:latin typeface="Ubuntu" panose="020B0504030602030204" pitchFamily="34" charset="0"/>
          <a:ea typeface="+mn-ea"/>
          <a:cs typeface="+mn-cs"/>
        </a:defRPr>
      </a:lvl3pPr>
      <a:lvl4pPr marL="53975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/>
        </a:buClr>
        <a:buFont typeface="Ubuntu" panose="020B0504030602030204" pitchFamily="34" charset="0"/>
        <a:buChar char="–"/>
        <a:defRPr sz="1400" kern="1200" baseline="0">
          <a:solidFill>
            <a:schemeClr val="tx1"/>
          </a:solidFill>
          <a:latin typeface="Ubuntu" panose="020B0504030602030204" pitchFamily="34" charset="0"/>
          <a:ea typeface="+mn-ea"/>
          <a:cs typeface="+mn-cs"/>
        </a:defRPr>
      </a:lvl4pPr>
      <a:lvl5pPr marL="71755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Arial" panose="020B0604020202020204" pitchFamily="34" charset="0"/>
        <a:buChar char="•"/>
        <a:defRPr sz="1400" kern="1200" baseline="0">
          <a:solidFill>
            <a:schemeClr val="tx1"/>
          </a:solidFill>
          <a:latin typeface="Ubuntu" panose="020B050403060203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423">
          <p15:clr>
            <a:srgbClr val="F26B43"/>
          </p15:clr>
        </p15:guide>
        <p15:guide id="3" orient="horz" pos="4071">
          <p15:clr>
            <a:srgbClr val="F26B43"/>
          </p15:clr>
        </p15:guide>
        <p15:guide id="4" pos="255">
          <p15:clr>
            <a:srgbClr val="F26B43"/>
          </p15:clr>
        </p15:guide>
        <p15:guide id="5" orient="horz" pos="836">
          <p15:clr>
            <a:srgbClr val="F26B43"/>
          </p15:clr>
        </p15:guide>
        <p15:guide id="6" orient="horz" pos="245">
          <p15:clr>
            <a:srgbClr val="F26B43"/>
          </p15:clr>
        </p15:guide>
        <p15:guide id="7" pos="3840">
          <p15:clr>
            <a:srgbClr val="F26B43"/>
          </p15:clr>
        </p15:guide>
        <p15:guide id="8" pos="3899">
          <p15:clr>
            <a:srgbClr val="F26B43"/>
          </p15:clr>
        </p15:guide>
        <p15:guide id="9" pos="378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13" Type="http://schemas.openxmlformats.org/officeDocument/2006/relationships/image" Target="../media/image22.png"/><Relationship Id="rId18" Type="http://schemas.openxmlformats.org/officeDocument/2006/relationships/image" Target="../media/image27.png"/><Relationship Id="rId26" Type="http://schemas.openxmlformats.org/officeDocument/2006/relationships/image" Target="../media/image35.png"/><Relationship Id="rId39" Type="http://schemas.openxmlformats.org/officeDocument/2006/relationships/image" Target="../media/image48.jpeg"/><Relationship Id="rId3" Type="http://schemas.openxmlformats.org/officeDocument/2006/relationships/image" Target="../media/image12.jpeg"/><Relationship Id="rId21" Type="http://schemas.openxmlformats.org/officeDocument/2006/relationships/image" Target="../media/image30.png"/><Relationship Id="rId34" Type="http://schemas.openxmlformats.org/officeDocument/2006/relationships/image" Target="../media/image43.jpeg"/><Relationship Id="rId42" Type="http://schemas.openxmlformats.org/officeDocument/2006/relationships/image" Target="../media/image51.png"/><Relationship Id="rId7" Type="http://schemas.openxmlformats.org/officeDocument/2006/relationships/image" Target="../media/image16.jpeg"/><Relationship Id="rId12" Type="http://schemas.openxmlformats.org/officeDocument/2006/relationships/image" Target="../media/image21.jpeg"/><Relationship Id="rId17" Type="http://schemas.openxmlformats.org/officeDocument/2006/relationships/image" Target="../media/image26.jpeg"/><Relationship Id="rId25" Type="http://schemas.openxmlformats.org/officeDocument/2006/relationships/image" Target="../media/image34.png"/><Relationship Id="rId33" Type="http://schemas.openxmlformats.org/officeDocument/2006/relationships/image" Target="../media/image42.jpeg"/><Relationship Id="rId38" Type="http://schemas.openxmlformats.org/officeDocument/2006/relationships/image" Target="../media/image47.pn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25.jpeg"/><Relationship Id="rId20" Type="http://schemas.openxmlformats.org/officeDocument/2006/relationships/image" Target="../media/image29.png"/><Relationship Id="rId29" Type="http://schemas.openxmlformats.org/officeDocument/2006/relationships/image" Target="../media/image38.png"/><Relationship Id="rId41" Type="http://schemas.openxmlformats.org/officeDocument/2006/relationships/image" Target="../media/image50.jpeg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15.png"/><Relationship Id="rId11" Type="http://schemas.openxmlformats.org/officeDocument/2006/relationships/image" Target="../media/image20.jpeg"/><Relationship Id="rId24" Type="http://schemas.openxmlformats.org/officeDocument/2006/relationships/image" Target="../media/image33.jpeg"/><Relationship Id="rId32" Type="http://schemas.openxmlformats.org/officeDocument/2006/relationships/image" Target="../media/image41.jpeg"/><Relationship Id="rId37" Type="http://schemas.openxmlformats.org/officeDocument/2006/relationships/image" Target="../media/image46.png"/><Relationship Id="rId40" Type="http://schemas.openxmlformats.org/officeDocument/2006/relationships/image" Target="../media/image49.jpeg"/><Relationship Id="rId5" Type="http://schemas.openxmlformats.org/officeDocument/2006/relationships/image" Target="../media/image14.jpeg"/><Relationship Id="rId15" Type="http://schemas.openxmlformats.org/officeDocument/2006/relationships/image" Target="../media/image24.png"/><Relationship Id="rId23" Type="http://schemas.openxmlformats.org/officeDocument/2006/relationships/image" Target="../media/image32.png"/><Relationship Id="rId28" Type="http://schemas.openxmlformats.org/officeDocument/2006/relationships/image" Target="../media/image37.png"/><Relationship Id="rId36" Type="http://schemas.openxmlformats.org/officeDocument/2006/relationships/image" Target="../media/image45.png"/><Relationship Id="rId10" Type="http://schemas.openxmlformats.org/officeDocument/2006/relationships/image" Target="../media/image19.png"/><Relationship Id="rId19" Type="http://schemas.openxmlformats.org/officeDocument/2006/relationships/image" Target="../media/image28.png"/><Relationship Id="rId31" Type="http://schemas.openxmlformats.org/officeDocument/2006/relationships/image" Target="../media/image40.gif"/><Relationship Id="rId4" Type="http://schemas.openxmlformats.org/officeDocument/2006/relationships/image" Target="../media/image13.png"/><Relationship Id="rId9" Type="http://schemas.openxmlformats.org/officeDocument/2006/relationships/image" Target="../media/image18.jpeg"/><Relationship Id="rId14" Type="http://schemas.openxmlformats.org/officeDocument/2006/relationships/image" Target="../media/image23.png"/><Relationship Id="rId22" Type="http://schemas.openxmlformats.org/officeDocument/2006/relationships/image" Target="../media/image31.png"/><Relationship Id="rId27" Type="http://schemas.openxmlformats.org/officeDocument/2006/relationships/image" Target="../media/image36.png"/><Relationship Id="rId30" Type="http://schemas.openxmlformats.org/officeDocument/2006/relationships/image" Target="../media/image39.jpeg"/><Relationship Id="rId35" Type="http://schemas.openxmlformats.org/officeDocument/2006/relationships/image" Target="../media/image44.jpeg"/><Relationship Id="rId43" Type="http://schemas.openxmlformats.org/officeDocument/2006/relationships/image" Target="../media/image5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3000" y="226128"/>
            <a:ext cx="9905999" cy="617517"/>
          </a:xfrm>
        </p:spPr>
        <p:txBody>
          <a:bodyPr/>
          <a:lstStyle/>
          <a:p>
            <a:r>
              <a:rPr lang="en-US" sz="2400" dirty="0">
                <a:solidFill>
                  <a:schemeClr val="bg1"/>
                </a:solidFill>
              </a:rPr>
              <a:t>DevOps Automation View</a:t>
            </a:r>
          </a:p>
        </p:txBody>
      </p:sp>
      <p:sp>
        <p:nvSpPr>
          <p:cNvPr id="3" name="Rounded Rectangle 2"/>
          <p:cNvSpPr/>
          <p:nvPr/>
        </p:nvSpPr>
        <p:spPr>
          <a:xfrm>
            <a:off x="8589558" y="1626358"/>
            <a:ext cx="2286000" cy="2398379"/>
          </a:xfrm>
          <a:prstGeom prst="roundRect">
            <a:avLst>
              <a:gd name="adj" fmla="val 0"/>
            </a:avLst>
          </a:prstGeom>
          <a:solidFill>
            <a:schemeClr val="tx2">
              <a:lumMod val="20000"/>
              <a:lumOff val="80000"/>
              <a:alpha val="14000"/>
            </a:schemeClr>
          </a:solidFill>
          <a:ln w="158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lvl="0"/>
            <a:r>
              <a:rPr lang="en-US" sz="1100" b="1">
                <a:solidFill>
                  <a:schemeClr val="bg1"/>
                </a:solidFill>
              </a:rPr>
              <a:t>Production Environment</a:t>
            </a:r>
          </a:p>
          <a:p>
            <a:pPr algn="ctr"/>
            <a:endParaRPr lang="en-US">
              <a:solidFill>
                <a:schemeClr val="bg1"/>
              </a:solidFill>
            </a:endParaRPr>
          </a:p>
        </p:txBody>
      </p:sp>
      <p:pic>
        <p:nvPicPr>
          <p:cNvPr id="4" name="Picture 6" descr="D:\Users\mudjain\Desktop\images (1).jpg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9071541" y="2073691"/>
            <a:ext cx="1539395" cy="1479611"/>
          </a:xfrm>
          <a:prstGeom prst="rect">
            <a:avLst/>
          </a:prstGeom>
          <a:noFill/>
        </p:spPr>
      </p:pic>
      <p:sp>
        <p:nvSpPr>
          <p:cNvPr id="5" name="Rounded Rectangle 4"/>
          <p:cNvSpPr/>
          <p:nvPr/>
        </p:nvSpPr>
        <p:spPr>
          <a:xfrm>
            <a:off x="1233450" y="1626358"/>
            <a:ext cx="4736305" cy="1088916"/>
          </a:xfrm>
          <a:prstGeom prst="roundRect">
            <a:avLst>
              <a:gd name="adj" fmla="val 0"/>
            </a:avLst>
          </a:prstGeom>
          <a:solidFill>
            <a:schemeClr val="tx2">
              <a:lumMod val="20000"/>
              <a:lumOff val="80000"/>
              <a:alpha val="85000"/>
            </a:schemeClr>
          </a:solidFill>
          <a:ln w="158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476396" y="1760770"/>
            <a:ext cx="1119818" cy="846014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t"/>
          <a:lstStyle/>
          <a:p>
            <a:r>
              <a:rPr lang="en-US" sz="1100" b="1">
                <a:solidFill>
                  <a:schemeClr val="bg1"/>
                </a:solidFill>
              </a:rPr>
              <a:t>Static Analysis</a:t>
            </a:r>
          </a:p>
        </p:txBody>
      </p:sp>
      <p:sp>
        <p:nvSpPr>
          <p:cNvPr id="7" name="Rectangle 6"/>
          <p:cNvSpPr/>
          <p:nvPr/>
        </p:nvSpPr>
        <p:spPr>
          <a:xfrm>
            <a:off x="2356512" y="1760770"/>
            <a:ext cx="1011581" cy="846014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Ins="182880" rtlCol="0" anchor="t"/>
          <a:lstStyle/>
          <a:p>
            <a:r>
              <a:rPr lang="en-US" sz="1100" b="1">
                <a:solidFill>
                  <a:schemeClr val="bg1"/>
                </a:solidFill>
              </a:rPr>
              <a:t>Unit Test</a:t>
            </a:r>
          </a:p>
        </p:txBody>
      </p:sp>
      <p:sp>
        <p:nvSpPr>
          <p:cNvPr id="8" name="Round Same Side Corner Rectangle 7"/>
          <p:cNvSpPr/>
          <p:nvPr/>
        </p:nvSpPr>
        <p:spPr>
          <a:xfrm>
            <a:off x="1233449" y="2715324"/>
            <a:ext cx="4736305" cy="272630"/>
          </a:xfrm>
          <a:prstGeom prst="round2SameRect">
            <a:avLst>
              <a:gd name="adj1" fmla="val 0"/>
              <a:gd name="adj2" fmla="val 5939"/>
            </a:avLst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algn="ctr"/>
            <a:r>
              <a:rPr lang="en-US" sz="1400" b="1">
                <a:solidFill>
                  <a:schemeClr val="bg1"/>
                </a:solidFill>
              </a:rPr>
              <a:t>Commit Stage</a:t>
            </a:r>
          </a:p>
        </p:txBody>
      </p:sp>
      <p:sp>
        <p:nvSpPr>
          <p:cNvPr id="9" name="Round Same Side Corner Rectangle 8"/>
          <p:cNvSpPr/>
          <p:nvPr/>
        </p:nvSpPr>
        <p:spPr>
          <a:xfrm>
            <a:off x="1233449" y="2715324"/>
            <a:ext cx="4736305" cy="272630"/>
          </a:xfrm>
          <a:prstGeom prst="round2SameRect">
            <a:avLst>
              <a:gd name="adj1" fmla="val 0"/>
              <a:gd name="adj2" fmla="val 5939"/>
            </a:avLst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algn="ctr"/>
            <a:r>
              <a:rPr lang="en-US" sz="1400" b="1">
                <a:solidFill>
                  <a:schemeClr val="bg1"/>
                </a:solidFill>
              </a:rPr>
              <a:t>Commit Stage</a:t>
            </a:r>
          </a:p>
        </p:txBody>
      </p:sp>
      <p:sp>
        <p:nvSpPr>
          <p:cNvPr id="11" name="Round Same Side Corner Rectangle 10"/>
          <p:cNvSpPr/>
          <p:nvPr/>
        </p:nvSpPr>
        <p:spPr>
          <a:xfrm>
            <a:off x="3683754" y="6040861"/>
            <a:ext cx="2286000" cy="272630"/>
          </a:xfrm>
          <a:prstGeom prst="round2SameRect">
            <a:avLst>
              <a:gd name="adj1" fmla="val 0"/>
              <a:gd name="adj2" fmla="val 5939"/>
            </a:avLst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algn="ctr"/>
            <a:r>
              <a:rPr lang="en-US" sz="1400" b="1">
                <a:solidFill>
                  <a:schemeClr val="bg1"/>
                </a:solidFill>
              </a:rPr>
              <a:t>Acceptance Stage</a:t>
            </a:r>
          </a:p>
        </p:txBody>
      </p:sp>
      <p:sp>
        <p:nvSpPr>
          <p:cNvPr id="12" name="Round Same Side Corner Rectangle 11"/>
          <p:cNvSpPr/>
          <p:nvPr/>
        </p:nvSpPr>
        <p:spPr>
          <a:xfrm>
            <a:off x="3683754" y="6040861"/>
            <a:ext cx="2286000" cy="272630"/>
          </a:xfrm>
          <a:prstGeom prst="round2SameRect">
            <a:avLst>
              <a:gd name="adj1" fmla="val 0"/>
              <a:gd name="adj2" fmla="val 5939"/>
            </a:avLst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algn="ctr"/>
            <a:r>
              <a:rPr lang="en-US" sz="1400" b="1">
                <a:solidFill>
                  <a:schemeClr val="bg1"/>
                </a:solidFill>
              </a:rPr>
              <a:t>Acceptance Stage</a:t>
            </a:r>
          </a:p>
        </p:txBody>
      </p:sp>
      <p:sp>
        <p:nvSpPr>
          <p:cNvPr id="13" name="Round Same Side Corner Rectangle 12"/>
          <p:cNvSpPr/>
          <p:nvPr/>
        </p:nvSpPr>
        <p:spPr>
          <a:xfrm>
            <a:off x="1233449" y="6040861"/>
            <a:ext cx="2286000" cy="272630"/>
          </a:xfrm>
          <a:prstGeom prst="round2SameRect">
            <a:avLst>
              <a:gd name="adj1" fmla="val 0"/>
              <a:gd name="adj2" fmla="val 5939"/>
            </a:avLst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algn="ctr"/>
            <a:endParaRPr lang="en-US" sz="1400" b="1">
              <a:solidFill>
                <a:schemeClr val="bg1"/>
              </a:solidFill>
            </a:endParaRPr>
          </a:p>
        </p:txBody>
      </p:sp>
      <p:sp>
        <p:nvSpPr>
          <p:cNvPr id="14" name="Rounded Rectangle 13"/>
          <p:cNvSpPr/>
          <p:nvPr/>
        </p:nvSpPr>
        <p:spPr>
          <a:xfrm>
            <a:off x="1233449" y="3077344"/>
            <a:ext cx="2286000" cy="2955030"/>
          </a:xfrm>
          <a:prstGeom prst="roundRect">
            <a:avLst>
              <a:gd name="adj" fmla="val 0"/>
            </a:avLst>
          </a:prstGeom>
          <a:solidFill>
            <a:schemeClr val="tx2">
              <a:lumMod val="20000"/>
              <a:lumOff val="80000"/>
              <a:alpha val="85000"/>
            </a:schemeClr>
          </a:solidFill>
          <a:ln w="158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5" name="Round Same Side Corner Rectangle 14"/>
          <p:cNvSpPr/>
          <p:nvPr/>
        </p:nvSpPr>
        <p:spPr>
          <a:xfrm>
            <a:off x="1233449" y="947329"/>
            <a:ext cx="9667700" cy="563210"/>
          </a:xfrm>
          <a:prstGeom prst="round2SameRect">
            <a:avLst/>
          </a:prstGeom>
          <a:solidFill>
            <a:schemeClr val="tx1">
              <a:lumMod val="40000"/>
              <a:lumOff val="60000"/>
              <a:alpha val="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ctr"/>
          <a:lstStyle/>
          <a:p>
            <a:pPr algn="ctr"/>
            <a:r>
              <a:rPr lang="en-US" sz="1400" b="1">
                <a:solidFill>
                  <a:schemeClr val="bg1"/>
                </a:solidFill>
              </a:rPr>
              <a:t>Monitoring &amp; Control</a:t>
            </a:r>
          </a:p>
        </p:txBody>
      </p:sp>
      <p:sp>
        <p:nvSpPr>
          <p:cNvPr id="18" name="Rectangle 17"/>
          <p:cNvSpPr/>
          <p:nvPr/>
        </p:nvSpPr>
        <p:spPr>
          <a:xfrm>
            <a:off x="1324889" y="3788534"/>
            <a:ext cx="2103120" cy="1022890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Ins="365760" rtlCol="0" anchor="t"/>
          <a:lstStyle/>
          <a:p>
            <a:r>
              <a:rPr lang="en-US" sz="1100" b="1">
                <a:solidFill>
                  <a:schemeClr val="bg1"/>
                </a:solidFill>
              </a:rPr>
              <a:t>Development &amp; Configuration</a:t>
            </a:r>
          </a:p>
        </p:txBody>
      </p:sp>
      <p:pic>
        <p:nvPicPr>
          <p:cNvPr id="19" name="Picture 2" descr="D:\Project Data\MJ's Data\Assets\Pics And Logos\User.png"/>
          <p:cNvPicPr>
            <a:picLocks noChangeAspect="1" noChangeArrowheads="1"/>
          </p:cNvPicPr>
          <p:nvPr/>
        </p:nvPicPr>
        <p:blipFill>
          <a:blip r:embed="rId4" cstate="print"/>
          <a:srcRect l="23756" t="6901" r="22635" b="34155"/>
          <a:stretch>
            <a:fillRect/>
          </a:stretch>
        </p:blipFill>
        <p:spPr bwMode="auto">
          <a:xfrm>
            <a:off x="1526687" y="4263343"/>
            <a:ext cx="276489" cy="304682"/>
          </a:xfrm>
          <a:prstGeom prst="rect">
            <a:avLst/>
          </a:prstGeom>
          <a:noFill/>
        </p:spPr>
      </p:pic>
      <p:sp>
        <p:nvSpPr>
          <p:cNvPr id="20" name="Rectangle 27"/>
          <p:cNvSpPr/>
          <p:nvPr/>
        </p:nvSpPr>
        <p:spPr>
          <a:xfrm>
            <a:off x="1324889" y="4901012"/>
            <a:ext cx="2103120" cy="1024508"/>
          </a:xfrm>
          <a:custGeom>
            <a:avLst/>
            <a:gdLst>
              <a:gd name="connsiteX0" fmla="*/ 0 w 2342339"/>
              <a:gd name="connsiteY0" fmla="*/ 0 h 1022890"/>
              <a:gd name="connsiteX1" fmla="*/ 2342339 w 2342339"/>
              <a:gd name="connsiteY1" fmla="*/ 0 h 1022890"/>
              <a:gd name="connsiteX2" fmla="*/ 2342339 w 2342339"/>
              <a:gd name="connsiteY2" fmla="*/ 1022890 h 1022890"/>
              <a:gd name="connsiteX3" fmla="*/ 0 w 2342339"/>
              <a:gd name="connsiteY3" fmla="*/ 1022890 h 1022890"/>
              <a:gd name="connsiteX4" fmla="*/ 0 w 2342339"/>
              <a:gd name="connsiteY4" fmla="*/ 0 h 1022890"/>
              <a:gd name="connsiteX0" fmla="*/ 0 w 2342339"/>
              <a:gd name="connsiteY0" fmla="*/ 4158 h 1027048"/>
              <a:gd name="connsiteX1" fmla="*/ 1249438 w 2342339"/>
              <a:gd name="connsiteY1" fmla="*/ 0 h 1027048"/>
              <a:gd name="connsiteX2" fmla="*/ 2342339 w 2342339"/>
              <a:gd name="connsiteY2" fmla="*/ 4158 h 1027048"/>
              <a:gd name="connsiteX3" fmla="*/ 2342339 w 2342339"/>
              <a:gd name="connsiteY3" fmla="*/ 1027048 h 1027048"/>
              <a:gd name="connsiteX4" fmla="*/ 0 w 2342339"/>
              <a:gd name="connsiteY4" fmla="*/ 1027048 h 1027048"/>
              <a:gd name="connsiteX5" fmla="*/ 0 w 2342339"/>
              <a:gd name="connsiteY5" fmla="*/ 4158 h 1027048"/>
              <a:gd name="connsiteX0" fmla="*/ 0 w 2342339"/>
              <a:gd name="connsiteY0" fmla="*/ 4158 h 1027048"/>
              <a:gd name="connsiteX1" fmla="*/ 773188 w 2342339"/>
              <a:gd name="connsiteY1" fmla="*/ 6350 h 1027048"/>
              <a:gd name="connsiteX2" fmla="*/ 1249438 w 2342339"/>
              <a:gd name="connsiteY2" fmla="*/ 0 h 1027048"/>
              <a:gd name="connsiteX3" fmla="*/ 2342339 w 2342339"/>
              <a:gd name="connsiteY3" fmla="*/ 4158 h 1027048"/>
              <a:gd name="connsiteX4" fmla="*/ 2342339 w 2342339"/>
              <a:gd name="connsiteY4" fmla="*/ 1027048 h 1027048"/>
              <a:gd name="connsiteX5" fmla="*/ 0 w 2342339"/>
              <a:gd name="connsiteY5" fmla="*/ 1027048 h 1027048"/>
              <a:gd name="connsiteX6" fmla="*/ 0 w 2342339"/>
              <a:gd name="connsiteY6" fmla="*/ 4158 h 1027048"/>
              <a:gd name="connsiteX0" fmla="*/ 1249438 w 2342339"/>
              <a:gd name="connsiteY0" fmla="*/ 0 h 1027048"/>
              <a:gd name="connsiteX1" fmla="*/ 2342339 w 2342339"/>
              <a:gd name="connsiteY1" fmla="*/ 4158 h 1027048"/>
              <a:gd name="connsiteX2" fmla="*/ 2342339 w 2342339"/>
              <a:gd name="connsiteY2" fmla="*/ 1027048 h 1027048"/>
              <a:gd name="connsiteX3" fmla="*/ 0 w 2342339"/>
              <a:gd name="connsiteY3" fmla="*/ 1027048 h 1027048"/>
              <a:gd name="connsiteX4" fmla="*/ 0 w 2342339"/>
              <a:gd name="connsiteY4" fmla="*/ 4158 h 1027048"/>
              <a:gd name="connsiteX5" fmla="*/ 864628 w 2342339"/>
              <a:gd name="connsiteY5" fmla="*/ 97790 h 1027048"/>
              <a:gd name="connsiteX0" fmla="*/ 1249438 w 2342339"/>
              <a:gd name="connsiteY0" fmla="*/ 0 h 1027048"/>
              <a:gd name="connsiteX1" fmla="*/ 2342339 w 2342339"/>
              <a:gd name="connsiteY1" fmla="*/ 4158 h 1027048"/>
              <a:gd name="connsiteX2" fmla="*/ 2342339 w 2342339"/>
              <a:gd name="connsiteY2" fmla="*/ 1027048 h 1027048"/>
              <a:gd name="connsiteX3" fmla="*/ 0 w 2342339"/>
              <a:gd name="connsiteY3" fmla="*/ 1027048 h 1027048"/>
              <a:gd name="connsiteX4" fmla="*/ 0 w 2342339"/>
              <a:gd name="connsiteY4" fmla="*/ 4158 h 1027048"/>
              <a:gd name="connsiteX5" fmla="*/ 858278 w 2342339"/>
              <a:gd name="connsiteY5" fmla="*/ 2540 h 1027048"/>
              <a:gd name="connsiteX0" fmla="*/ 1376438 w 2342339"/>
              <a:gd name="connsiteY0" fmla="*/ 3810 h 1024508"/>
              <a:gd name="connsiteX1" fmla="*/ 2342339 w 2342339"/>
              <a:gd name="connsiteY1" fmla="*/ 1618 h 1024508"/>
              <a:gd name="connsiteX2" fmla="*/ 2342339 w 2342339"/>
              <a:gd name="connsiteY2" fmla="*/ 1024508 h 1024508"/>
              <a:gd name="connsiteX3" fmla="*/ 0 w 2342339"/>
              <a:gd name="connsiteY3" fmla="*/ 1024508 h 1024508"/>
              <a:gd name="connsiteX4" fmla="*/ 0 w 2342339"/>
              <a:gd name="connsiteY4" fmla="*/ 1618 h 1024508"/>
              <a:gd name="connsiteX5" fmla="*/ 858278 w 2342339"/>
              <a:gd name="connsiteY5" fmla="*/ 0 h 1024508"/>
              <a:gd name="connsiteX0" fmla="*/ 1376438 w 2342339"/>
              <a:gd name="connsiteY0" fmla="*/ 3810 h 1024508"/>
              <a:gd name="connsiteX1" fmla="*/ 2342339 w 2342339"/>
              <a:gd name="connsiteY1" fmla="*/ 1618 h 1024508"/>
              <a:gd name="connsiteX2" fmla="*/ 2342339 w 2342339"/>
              <a:gd name="connsiteY2" fmla="*/ 1024508 h 1024508"/>
              <a:gd name="connsiteX3" fmla="*/ 0 w 2342339"/>
              <a:gd name="connsiteY3" fmla="*/ 1024508 h 1024508"/>
              <a:gd name="connsiteX4" fmla="*/ 0 w 2342339"/>
              <a:gd name="connsiteY4" fmla="*/ 1618 h 1024508"/>
              <a:gd name="connsiteX5" fmla="*/ 991628 w 2342339"/>
              <a:gd name="connsiteY5" fmla="*/ 0 h 1024508"/>
              <a:gd name="connsiteX0" fmla="*/ 1376438 w 2342339"/>
              <a:gd name="connsiteY0" fmla="*/ 3810 h 1024508"/>
              <a:gd name="connsiteX1" fmla="*/ 2342339 w 2342339"/>
              <a:gd name="connsiteY1" fmla="*/ 1618 h 1024508"/>
              <a:gd name="connsiteX2" fmla="*/ 2342339 w 2342339"/>
              <a:gd name="connsiteY2" fmla="*/ 1024508 h 1024508"/>
              <a:gd name="connsiteX3" fmla="*/ 0 w 2342339"/>
              <a:gd name="connsiteY3" fmla="*/ 1024508 h 1024508"/>
              <a:gd name="connsiteX4" fmla="*/ 0 w 2342339"/>
              <a:gd name="connsiteY4" fmla="*/ 1618 h 1024508"/>
              <a:gd name="connsiteX5" fmla="*/ 991628 w 2342339"/>
              <a:gd name="connsiteY5" fmla="*/ 0 h 1024508"/>
              <a:gd name="connsiteX0" fmla="*/ 1376438 w 2342339"/>
              <a:gd name="connsiteY0" fmla="*/ 3810 h 1024508"/>
              <a:gd name="connsiteX1" fmla="*/ 2342339 w 2342339"/>
              <a:gd name="connsiteY1" fmla="*/ 1618 h 1024508"/>
              <a:gd name="connsiteX2" fmla="*/ 2342339 w 2342339"/>
              <a:gd name="connsiteY2" fmla="*/ 1024508 h 1024508"/>
              <a:gd name="connsiteX3" fmla="*/ 0 w 2342339"/>
              <a:gd name="connsiteY3" fmla="*/ 1024508 h 1024508"/>
              <a:gd name="connsiteX4" fmla="*/ 0 w 2342339"/>
              <a:gd name="connsiteY4" fmla="*/ 1618 h 1024508"/>
              <a:gd name="connsiteX5" fmla="*/ 1156728 w 2342339"/>
              <a:gd name="connsiteY5" fmla="*/ 0 h 1024508"/>
              <a:gd name="connsiteX0" fmla="*/ 1503438 w 2342339"/>
              <a:gd name="connsiteY0" fmla="*/ 3810 h 1024508"/>
              <a:gd name="connsiteX1" fmla="*/ 2342339 w 2342339"/>
              <a:gd name="connsiteY1" fmla="*/ 1618 h 1024508"/>
              <a:gd name="connsiteX2" fmla="*/ 2342339 w 2342339"/>
              <a:gd name="connsiteY2" fmla="*/ 1024508 h 1024508"/>
              <a:gd name="connsiteX3" fmla="*/ 0 w 2342339"/>
              <a:gd name="connsiteY3" fmla="*/ 1024508 h 1024508"/>
              <a:gd name="connsiteX4" fmla="*/ 0 w 2342339"/>
              <a:gd name="connsiteY4" fmla="*/ 1618 h 1024508"/>
              <a:gd name="connsiteX5" fmla="*/ 1156728 w 2342339"/>
              <a:gd name="connsiteY5" fmla="*/ 0 h 1024508"/>
              <a:gd name="connsiteX0" fmla="*/ 1554238 w 2342339"/>
              <a:gd name="connsiteY0" fmla="*/ 3810 h 1024508"/>
              <a:gd name="connsiteX1" fmla="*/ 2342339 w 2342339"/>
              <a:gd name="connsiteY1" fmla="*/ 1618 h 1024508"/>
              <a:gd name="connsiteX2" fmla="*/ 2342339 w 2342339"/>
              <a:gd name="connsiteY2" fmla="*/ 1024508 h 1024508"/>
              <a:gd name="connsiteX3" fmla="*/ 0 w 2342339"/>
              <a:gd name="connsiteY3" fmla="*/ 1024508 h 1024508"/>
              <a:gd name="connsiteX4" fmla="*/ 0 w 2342339"/>
              <a:gd name="connsiteY4" fmla="*/ 1618 h 1024508"/>
              <a:gd name="connsiteX5" fmla="*/ 1156728 w 2342339"/>
              <a:gd name="connsiteY5" fmla="*/ 0 h 1024508"/>
              <a:gd name="connsiteX0" fmla="*/ 1554238 w 2342339"/>
              <a:gd name="connsiteY0" fmla="*/ 3810 h 1024508"/>
              <a:gd name="connsiteX1" fmla="*/ 1535188 w 2342339"/>
              <a:gd name="connsiteY1" fmla="*/ 3810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156728 w 2342339"/>
              <a:gd name="connsiteY6" fmla="*/ 0 h 1024508"/>
              <a:gd name="connsiteX0" fmla="*/ 1554238 w 2342339"/>
              <a:gd name="connsiteY0" fmla="*/ 3810 h 1024508"/>
              <a:gd name="connsiteX1" fmla="*/ 1446288 w 2342339"/>
              <a:gd name="connsiteY1" fmla="*/ 321310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156728 w 2342339"/>
              <a:gd name="connsiteY6" fmla="*/ 0 h 1024508"/>
              <a:gd name="connsiteX0" fmla="*/ 1338338 w 2342339"/>
              <a:gd name="connsiteY0" fmla="*/ 340360 h 1024508"/>
              <a:gd name="connsiteX1" fmla="*/ 1446288 w 2342339"/>
              <a:gd name="connsiteY1" fmla="*/ 321310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156728 w 2342339"/>
              <a:gd name="connsiteY6" fmla="*/ 0 h 1024508"/>
              <a:gd name="connsiteX0" fmla="*/ 1338338 w 2342339"/>
              <a:gd name="connsiteY0" fmla="*/ 340360 h 1024508"/>
              <a:gd name="connsiteX1" fmla="*/ 1471688 w 2342339"/>
              <a:gd name="connsiteY1" fmla="*/ 10160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156728 w 2342339"/>
              <a:gd name="connsiteY6" fmla="*/ 0 h 1024508"/>
              <a:gd name="connsiteX0" fmla="*/ 1471688 w 2342339"/>
              <a:gd name="connsiteY0" fmla="*/ 276860 h 1024508"/>
              <a:gd name="connsiteX1" fmla="*/ 1471688 w 2342339"/>
              <a:gd name="connsiteY1" fmla="*/ 10160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156728 w 2342339"/>
              <a:gd name="connsiteY6" fmla="*/ 0 h 1024508"/>
              <a:gd name="connsiteX0" fmla="*/ 1471688 w 2342339"/>
              <a:gd name="connsiteY0" fmla="*/ 276860 h 1024508"/>
              <a:gd name="connsiteX1" fmla="*/ 1471688 w 2342339"/>
              <a:gd name="connsiteY1" fmla="*/ 5397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156728 w 2342339"/>
              <a:gd name="connsiteY6" fmla="*/ 0 h 1024508"/>
              <a:gd name="connsiteX0" fmla="*/ 1471688 w 2342339"/>
              <a:gd name="connsiteY0" fmla="*/ 276860 h 1024508"/>
              <a:gd name="connsiteX1" fmla="*/ 1471688 w 2342339"/>
              <a:gd name="connsiteY1" fmla="*/ 634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156728 w 2342339"/>
              <a:gd name="connsiteY6" fmla="*/ 0 h 1024508"/>
              <a:gd name="connsiteX0" fmla="*/ 1471688 w 2342339"/>
              <a:gd name="connsiteY0" fmla="*/ 276860 h 1024508"/>
              <a:gd name="connsiteX1" fmla="*/ 1471688 w 2342339"/>
              <a:gd name="connsiteY1" fmla="*/ 5396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156728 w 2342339"/>
              <a:gd name="connsiteY6" fmla="*/ 0 h 1024508"/>
              <a:gd name="connsiteX0" fmla="*/ 1471688 w 2342339"/>
              <a:gd name="connsiteY0" fmla="*/ 276860 h 1024508"/>
              <a:gd name="connsiteX1" fmla="*/ 1471688 w 2342339"/>
              <a:gd name="connsiteY1" fmla="*/ 3015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156728 w 2342339"/>
              <a:gd name="connsiteY6" fmla="*/ 0 h 1024508"/>
              <a:gd name="connsiteX0" fmla="*/ 1474069 w 2342339"/>
              <a:gd name="connsiteY0" fmla="*/ 183992 h 1024508"/>
              <a:gd name="connsiteX1" fmla="*/ 1471688 w 2342339"/>
              <a:gd name="connsiteY1" fmla="*/ 3015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156728 w 2342339"/>
              <a:gd name="connsiteY6" fmla="*/ 0 h 1024508"/>
              <a:gd name="connsiteX0" fmla="*/ 1474069 w 2342339"/>
              <a:gd name="connsiteY0" fmla="*/ 183992 h 1024508"/>
              <a:gd name="connsiteX1" fmla="*/ 1471688 w 2342339"/>
              <a:gd name="connsiteY1" fmla="*/ 3015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156728 w 2342339"/>
              <a:gd name="connsiteY6" fmla="*/ 0 h 1024508"/>
              <a:gd name="connsiteX7" fmla="*/ 1154982 w 2342339"/>
              <a:gd name="connsiteY7" fmla="*/ 3810 h 1024508"/>
              <a:gd name="connsiteX0" fmla="*/ 1474069 w 2342339"/>
              <a:gd name="connsiteY0" fmla="*/ 183992 h 1024508"/>
              <a:gd name="connsiteX1" fmla="*/ 1471688 w 2342339"/>
              <a:gd name="connsiteY1" fmla="*/ 3015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156728 w 2342339"/>
              <a:gd name="connsiteY6" fmla="*/ 0 h 1024508"/>
              <a:gd name="connsiteX7" fmla="*/ 1216894 w 2342339"/>
              <a:gd name="connsiteY7" fmla="*/ 151447 h 1024508"/>
              <a:gd name="connsiteX0" fmla="*/ 1474069 w 2342339"/>
              <a:gd name="connsiteY0" fmla="*/ 183992 h 1024508"/>
              <a:gd name="connsiteX1" fmla="*/ 1471688 w 2342339"/>
              <a:gd name="connsiteY1" fmla="*/ 3015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156728 w 2342339"/>
              <a:gd name="connsiteY6" fmla="*/ 0 h 1024508"/>
              <a:gd name="connsiteX7" fmla="*/ 1207369 w 2342339"/>
              <a:gd name="connsiteY7" fmla="*/ 256222 h 1024508"/>
              <a:gd name="connsiteX0" fmla="*/ 1474069 w 2342339"/>
              <a:gd name="connsiteY0" fmla="*/ 183992 h 1024508"/>
              <a:gd name="connsiteX1" fmla="*/ 1471688 w 2342339"/>
              <a:gd name="connsiteY1" fmla="*/ 3015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156728 w 2342339"/>
              <a:gd name="connsiteY6" fmla="*/ 0 h 1024508"/>
              <a:gd name="connsiteX7" fmla="*/ 1207369 w 2342339"/>
              <a:gd name="connsiteY7" fmla="*/ 256222 h 1024508"/>
              <a:gd name="connsiteX0" fmla="*/ 1474069 w 2342339"/>
              <a:gd name="connsiteY0" fmla="*/ 183992 h 1024508"/>
              <a:gd name="connsiteX1" fmla="*/ 1471688 w 2342339"/>
              <a:gd name="connsiteY1" fmla="*/ 3015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156728 w 2342339"/>
              <a:gd name="connsiteY6" fmla="*/ 0 h 1024508"/>
              <a:gd name="connsiteX7" fmla="*/ 1159744 w 2342339"/>
              <a:gd name="connsiteY7" fmla="*/ 196691 h 1024508"/>
              <a:gd name="connsiteX0" fmla="*/ 1474069 w 2342339"/>
              <a:gd name="connsiteY0" fmla="*/ 183992 h 1024508"/>
              <a:gd name="connsiteX1" fmla="*/ 1471688 w 2342339"/>
              <a:gd name="connsiteY1" fmla="*/ 3015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156728 w 2342339"/>
              <a:gd name="connsiteY6" fmla="*/ 0 h 1024508"/>
              <a:gd name="connsiteX7" fmla="*/ 1159744 w 2342339"/>
              <a:gd name="connsiteY7" fmla="*/ 177641 h 1024508"/>
              <a:gd name="connsiteX0" fmla="*/ 1474069 w 2342339"/>
              <a:gd name="connsiteY0" fmla="*/ 183992 h 1024508"/>
              <a:gd name="connsiteX1" fmla="*/ 1471688 w 2342339"/>
              <a:gd name="connsiteY1" fmla="*/ 3015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156728 w 2342339"/>
              <a:gd name="connsiteY6" fmla="*/ 0 h 1024508"/>
              <a:gd name="connsiteX7" fmla="*/ 1157363 w 2342339"/>
              <a:gd name="connsiteY7" fmla="*/ 187166 h 1024508"/>
              <a:gd name="connsiteX0" fmla="*/ 1474069 w 2342339"/>
              <a:gd name="connsiteY0" fmla="*/ 183992 h 1024508"/>
              <a:gd name="connsiteX1" fmla="*/ 1471688 w 2342339"/>
              <a:gd name="connsiteY1" fmla="*/ 3015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156728 w 2342339"/>
              <a:gd name="connsiteY6" fmla="*/ 0 h 1024508"/>
              <a:gd name="connsiteX7" fmla="*/ 1157363 w 2342339"/>
              <a:gd name="connsiteY7" fmla="*/ 184785 h 1024508"/>
              <a:gd name="connsiteX0" fmla="*/ 1474069 w 2342339"/>
              <a:gd name="connsiteY0" fmla="*/ 107792 h 1024508"/>
              <a:gd name="connsiteX1" fmla="*/ 1471688 w 2342339"/>
              <a:gd name="connsiteY1" fmla="*/ 3015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156728 w 2342339"/>
              <a:gd name="connsiteY6" fmla="*/ 0 h 1024508"/>
              <a:gd name="connsiteX7" fmla="*/ 1157363 w 2342339"/>
              <a:gd name="connsiteY7" fmla="*/ 184785 h 1024508"/>
              <a:gd name="connsiteX0" fmla="*/ 1474069 w 2342339"/>
              <a:gd name="connsiteY0" fmla="*/ 107792 h 1024508"/>
              <a:gd name="connsiteX1" fmla="*/ 1471688 w 2342339"/>
              <a:gd name="connsiteY1" fmla="*/ 3015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156728 w 2342339"/>
              <a:gd name="connsiteY6" fmla="*/ 0 h 1024508"/>
              <a:gd name="connsiteX7" fmla="*/ 1157363 w 2342339"/>
              <a:gd name="connsiteY7" fmla="*/ 113347 h 1024508"/>
              <a:gd name="connsiteX0" fmla="*/ 1474069 w 2342339"/>
              <a:gd name="connsiteY0" fmla="*/ 107792 h 1024508"/>
              <a:gd name="connsiteX1" fmla="*/ 1471688 w 2342339"/>
              <a:gd name="connsiteY1" fmla="*/ 3015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156728 w 2342339"/>
              <a:gd name="connsiteY6" fmla="*/ 0 h 1024508"/>
              <a:gd name="connsiteX7" fmla="*/ 1157363 w 2342339"/>
              <a:gd name="connsiteY7" fmla="*/ 106204 h 1024508"/>
              <a:gd name="connsiteX0" fmla="*/ 1474069 w 2342339"/>
              <a:gd name="connsiteY0" fmla="*/ 107792 h 1024508"/>
              <a:gd name="connsiteX1" fmla="*/ 1524730 w 2342339"/>
              <a:gd name="connsiteY1" fmla="*/ 634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156728 w 2342339"/>
              <a:gd name="connsiteY6" fmla="*/ 0 h 1024508"/>
              <a:gd name="connsiteX7" fmla="*/ 1157363 w 2342339"/>
              <a:gd name="connsiteY7" fmla="*/ 106204 h 1024508"/>
              <a:gd name="connsiteX0" fmla="*/ 1474069 w 2342339"/>
              <a:gd name="connsiteY0" fmla="*/ 109539 h 1026255"/>
              <a:gd name="connsiteX1" fmla="*/ 1633466 w 2342339"/>
              <a:gd name="connsiteY1" fmla="*/ 0 h 1026255"/>
              <a:gd name="connsiteX2" fmla="*/ 2342339 w 2342339"/>
              <a:gd name="connsiteY2" fmla="*/ 3365 h 1026255"/>
              <a:gd name="connsiteX3" fmla="*/ 2342339 w 2342339"/>
              <a:gd name="connsiteY3" fmla="*/ 1026255 h 1026255"/>
              <a:gd name="connsiteX4" fmla="*/ 0 w 2342339"/>
              <a:gd name="connsiteY4" fmla="*/ 1026255 h 1026255"/>
              <a:gd name="connsiteX5" fmla="*/ 0 w 2342339"/>
              <a:gd name="connsiteY5" fmla="*/ 3365 h 1026255"/>
              <a:gd name="connsiteX6" fmla="*/ 1156728 w 2342339"/>
              <a:gd name="connsiteY6" fmla="*/ 1747 h 1026255"/>
              <a:gd name="connsiteX7" fmla="*/ 1157363 w 2342339"/>
              <a:gd name="connsiteY7" fmla="*/ 107951 h 1026255"/>
              <a:gd name="connsiteX0" fmla="*/ 1635847 w 2342339"/>
              <a:gd name="connsiteY0" fmla="*/ 102395 h 1026255"/>
              <a:gd name="connsiteX1" fmla="*/ 1633466 w 2342339"/>
              <a:gd name="connsiteY1" fmla="*/ 0 h 1026255"/>
              <a:gd name="connsiteX2" fmla="*/ 2342339 w 2342339"/>
              <a:gd name="connsiteY2" fmla="*/ 3365 h 1026255"/>
              <a:gd name="connsiteX3" fmla="*/ 2342339 w 2342339"/>
              <a:gd name="connsiteY3" fmla="*/ 1026255 h 1026255"/>
              <a:gd name="connsiteX4" fmla="*/ 0 w 2342339"/>
              <a:gd name="connsiteY4" fmla="*/ 1026255 h 1026255"/>
              <a:gd name="connsiteX5" fmla="*/ 0 w 2342339"/>
              <a:gd name="connsiteY5" fmla="*/ 3365 h 1026255"/>
              <a:gd name="connsiteX6" fmla="*/ 1156728 w 2342339"/>
              <a:gd name="connsiteY6" fmla="*/ 1747 h 1026255"/>
              <a:gd name="connsiteX7" fmla="*/ 1157363 w 2342339"/>
              <a:gd name="connsiteY7" fmla="*/ 107951 h 1026255"/>
              <a:gd name="connsiteX0" fmla="*/ 1635847 w 2342339"/>
              <a:gd name="connsiteY0" fmla="*/ 100648 h 1024508"/>
              <a:gd name="connsiteX1" fmla="*/ 1633466 w 2342339"/>
              <a:gd name="connsiteY1" fmla="*/ 634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156728 w 2342339"/>
              <a:gd name="connsiteY6" fmla="*/ 0 h 1024508"/>
              <a:gd name="connsiteX7" fmla="*/ 1157363 w 2342339"/>
              <a:gd name="connsiteY7" fmla="*/ 106204 h 1024508"/>
              <a:gd name="connsiteX0" fmla="*/ 1635847 w 2342339"/>
              <a:gd name="connsiteY0" fmla="*/ 100648 h 1024508"/>
              <a:gd name="connsiteX1" fmla="*/ 1633466 w 2342339"/>
              <a:gd name="connsiteY1" fmla="*/ 634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156728 w 2342339"/>
              <a:gd name="connsiteY6" fmla="*/ 0 h 1024508"/>
              <a:gd name="connsiteX7" fmla="*/ 1157363 w 2342339"/>
              <a:gd name="connsiteY7" fmla="*/ 106204 h 1024508"/>
              <a:gd name="connsiteX0" fmla="*/ 1635847 w 2342339"/>
              <a:gd name="connsiteY0" fmla="*/ 100648 h 1024508"/>
              <a:gd name="connsiteX1" fmla="*/ 1633466 w 2342339"/>
              <a:gd name="connsiteY1" fmla="*/ 634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156728 w 2342339"/>
              <a:gd name="connsiteY6" fmla="*/ 0 h 1024508"/>
              <a:gd name="connsiteX7" fmla="*/ 1284665 w 2342339"/>
              <a:gd name="connsiteY7" fmla="*/ 106204 h 1024508"/>
              <a:gd name="connsiteX0" fmla="*/ 1635847 w 2342339"/>
              <a:gd name="connsiteY0" fmla="*/ 100648 h 1024508"/>
              <a:gd name="connsiteX1" fmla="*/ 1633466 w 2342339"/>
              <a:gd name="connsiteY1" fmla="*/ 634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286682 w 2342339"/>
              <a:gd name="connsiteY6" fmla="*/ 0 h 1024508"/>
              <a:gd name="connsiteX7" fmla="*/ 1284665 w 2342339"/>
              <a:gd name="connsiteY7" fmla="*/ 106204 h 1024508"/>
              <a:gd name="connsiteX0" fmla="*/ 1635847 w 2342339"/>
              <a:gd name="connsiteY0" fmla="*/ 100648 h 1024508"/>
              <a:gd name="connsiteX1" fmla="*/ 1633466 w 2342339"/>
              <a:gd name="connsiteY1" fmla="*/ 634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286682 w 2342339"/>
              <a:gd name="connsiteY6" fmla="*/ 0 h 1024508"/>
              <a:gd name="connsiteX7" fmla="*/ 1282013 w 2342339"/>
              <a:gd name="connsiteY7" fmla="*/ 94298 h 1024508"/>
              <a:gd name="connsiteX0" fmla="*/ 1635847 w 2342339"/>
              <a:gd name="connsiteY0" fmla="*/ 100648 h 1024508"/>
              <a:gd name="connsiteX1" fmla="*/ 1633466 w 2342339"/>
              <a:gd name="connsiteY1" fmla="*/ 634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286682 w 2342339"/>
              <a:gd name="connsiteY6" fmla="*/ 0 h 1024508"/>
              <a:gd name="connsiteX7" fmla="*/ 1287317 w 2342339"/>
              <a:gd name="connsiteY7" fmla="*/ 103823 h 1024508"/>
              <a:gd name="connsiteX0" fmla="*/ 1635847 w 2342339"/>
              <a:gd name="connsiteY0" fmla="*/ 100648 h 1024508"/>
              <a:gd name="connsiteX1" fmla="*/ 1633466 w 2342339"/>
              <a:gd name="connsiteY1" fmla="*/ 634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286682 w 2342339"/>
              <a:gd name="connsiteY6" fmla="*/ 0 h 1024508"/>
              <a:gd name="connsiteX7" fmla="*/ 1276709 w 2342339"/>
              <a:gd name="connsiteY7" fmla="*/ 103823 h 1024508"/>
              <a:gd name="connsiteX0" fmla="*/ 1635847 w 2342339"/>
              <a:gd name="connsiteY0" fmla="*/ 100648 h 1024508"/>
              <a:gd name="connsiteX1" fmla="*/ 1633466 w 2342339"/>
              <a:gd name="connsiteY1" fmla="*/ 634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278726 w 2342339"/>
              <a:gd name="connsiteY6" fmla="*/ 0 h 1024508"/>
              <a:gd name="connsiteX7" fmla="*/ 1276709 w 2342339"/>
              <a:gd name="connsiteY7" fmla="*/ 103823 h 1024508"/>
              <a:gd name="connsiteX0" fmla="*/ 1635847 w 2342339"/>
              <a:gd name="connsiteY0" fmla="*/ 100648 h 1024508"/>
              <a:gd name="connsiteX1" fmla="*/ 1633466 w 2342339"/>
              <a:gd name="connsiteY1" fmla="*/ 634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278726 w 2342339"/>
              <a:gd name="connsiteY6" fmla="*/ 0 h 1024508"/>
              <a:gd name="connsiteX7" fmla="*/ 1276709 w 2342339"/>
              <a:gd name="connsiteY7" fmla="*/ 94298 h 1024508"/>
              <a:gd name="connsiteX0" fmla="*/ 1635847 w 2342339"/>
              <a:gd name="connsiteY0" fmla="*/ 100648 h 1024508"/>
              <a:gd name="connsiteX1" fmla="*/ 1633466 w 2342339"/>
              <a:gd name="connsiteY1" fmla="*/ 634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278726 w 2342339"/>
              <a:gd name="connsiteY6" fmla="*/ 0 h 1024508"/>
              <a:gd name="connsiteX7" fmla="*/ 1276709 w 2342339"/>
              <a:gd name="connsiteY7" fmla="*/ 101442 h 10245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342339" h="1024508">
                <a:moveTo>
                  <a:pt x="1635847" y="100648"/>
                </a:moveTo>
                <a:cubicBezTo>
                  <a:pt x="1635053" y="40322"/>
                  <a:pt x="1634260" y="60960"/>
                  <a:pt x="1633466" y="634"/>
                </a:cubicBezTo>
                <a:lnTo>
                  <a:pt x="2342339" y="1618"/>
                </a:lnTo>
                <a:lnTo>
                  <a:pt x="2342339" y="1024508"/>
                </a:lnTo>
                <a:lnTo>
                  <a:pt x="0" y="1024508"/>
                </a:lnTo>
                <a:lnTo>
                  <a:pt x="0" y="1618"/>
                </a:lnTo>
                <a:lnTo>
                  <a:pt x="1278726" y="0"/>
                </a:lnTo>
                <a:cubicBezTo>
                  <a:pt x="1283104" y="100377"/>
                  <a:pt x="1277073" y="100648"/>
                  <a:pt x="1276709" y="101442"/>
                </a:cubicBezTo>
              </a:path>
            </a:pathLst>
          </a:cu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Ins="365760" rtlCol="0" anchor="t"/>
          <a:lstStyle/>
          <a:p>
            <a:r>
              <a:rPr lang="en-US" sz="1100" b="1">
                <a:solidFill>
                  <a:schemeClr val="bg1"/>
                </a:solidFill>
              </a:rPr>
              <a:t>Project / Task Management</a:t>
            </a:r>
          </a:p>
        </p:txBody>
      </p:sp>
      <p:pic>
        <p:nvPicPr>
          <p:cNvPr id="21" name="Picture 3" descr="D:\Users\mudjain\Desktop\images (3).jpg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4896" y="5031693"/>
            <a:ext cx="326790" cy="2315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3" descr="D:\Users\mudjain\Desktop\images (3).jpg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4896" y="5142067"/>
            <a:ext cx="326790" cy="2315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3" descr="D:\Users\mudjain\Desktop\images (3).jpg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4896" y="5252441"/>
            <a:ext cx="326790" cy="2315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3" descr="D:\Users\mudjain\Desktop\images (3).jpg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4896" y="5362815"/>
            <a:ext cx="326790" cy="2315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3" descr="D:\Users\mudjain\Desktop\images (3).jpg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4896" y="5473189"/>
            <a:ext cx="326790" cy="2315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3" descr="D:\Users\mudjain\Desktop\images (3).jpg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4896" y="5583563"/>
            <a:ext cx="326790" cy="2315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3" descr="D:\Users\mudjain\Desktop\images (3).jpg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4896" y="5693936"/>
            <a:ext cx="326790" cy="2315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2" descr="D:\Project Data\MJ's Data\Assets\Pics And Logos\User.png"/>
          <p:cNvPicPr>
            <a:picLocks noChangeAspect="1" noChangeArrowheads="1"/>
          </p:cNvPicPr>
          <p:nvPr/>
        </p:nvPicPr>
        <p:blipFill>
          <a:blip r:embed="rId4" cstate="print"/>
          <a:srcRect l="23756" t="6901" r="22635" b="34155"/>
          <a:stretch>
            <a:fillRect/>
          </a:stretch>
        </p:blipFill>
        <p:spPr bwMode="auto">
          <a:xfrm>
            <a:off x="1817331" y="4263402"/>
            <a:ext cx="276489" cy="304682"/>
          </a:xfrm>
          <a:prstGeom prst="rect">
            <a:avLst/>
          </a:prstGeom>
          <a:noFill/>
        </p:spPr>
      </p:pic>
      <p:pic>
        <p:nvPicPr>
          <p:cNvPr id="29" name="Picture 2" descr="D:\Project Data\MJ's Data\Assets\Pics And Logos\User.png"/>
          <p:cNvPicPr>
            <a:picLocks noChangeAspect="1" noChangeArrowheads="1"/>
          </p:cNvPicPr>
          <p:nvPr/>
        </p:nvPicPr>
        <p:blipFill>
          <a:blip r:embed="rId4" cstate="print"/>
          <a:srcRect l="23756" t="6901" r="22635" b="34155"/>
          <a:stretch>
            <a:fillRect/>
          </a:stretch>
        </p:blipFill>
        <p:spPr bwMode="auto">
          <a:xfrm>
            <a:off x="1949305" y="4415684"/>
            <a:ext cx="276489" cy="304682"/>
          </a:xfrm>
          <a:prstGeom prst="rect">
            <a:avLst/>
          </a:prstGeom>
          <a:noFill/>
        </p:spPr>
      </p:pic>
      <p:pic>
        <p:nvPicPr>
          <p:cNvPr id="30" name="Picture 2" descr="D:\Project Data\MJ's Data\Assets\Pics And Logos\User.png"/>
          <p:cNvPicPr>
            <a:picLocks noChangeAspect="1" noChangeArrowheads="1"/>
          </p:cNvPicPr>
          <p:nvPr/>
        </p:nvPicPr>
        <p:blipFill>
          <a:blip r:embed="rId4" cstate="print"/>
          <a:srcRect l="23756" t="6901" r="22635" b="34155"/>
          <a:stretch>
            <a:fillRect/>
          </a:stretch>
        </p:blipFill>
        <p:spPr bwMode="auto">
          <a:xfrm>
            <a:off x="1664932" y="4415684"/>
            <a:ext cx="276489" cy="304682"/>
          </a:xfrm>
          <a:prstGeom prst="rect">
            <a:avLst/>
          </a:prstGeom>
          <a:noFill/>
        </p:spPr>
      </p:pic>
      <p:pic>
        <p:nvPicPr>
          <p:cNvPr id="31" name="Picture 2" descr="D:\Project Data\MJ's Data\Assets\Pics And Logos\User.png"/>
          <p:cNvPicPr>
            <a:picLocks noChangeAspect="1" noChangeArrowheads="1"/>
          </p:cNvPicPr>
          <p:nvPr/>
        </p:nvPicPr>
        <p:blipFill>
          <a:blip r:embed="rId4" cstate="print"/>
          <a:srcRect l="23756" t="6901" r="22635" b="34155"/>
          <a:stretch>
            <a:fillRect/>
          </a:stretch>
        </p:blipFill>
        <p:spPr bwMode="auto">
          <a:xfrm>
            <a:off x="1388443" y="4415684"/>
            <a:ext cx="276489" cy="304682"/>
          </a:xfrm>
          <a:prstGeom prst="rect">
            <a:avLst/>
          </a:prstGeom>
          <a:noFill/>
        </p:spPr>
      </p:pic>
      <p:pic>
        <p:nvPicPr>
          <p:cNvPr id="32" name="Picture 4" descr="D:\Users\mudjain\Desktop\crm-buying-process.png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522"/>
          <a:stretch/>
        </p:blipFill>
        <p:spPr bwMode="auto">
          <a:xfrm>
            <a:off x="2414532" y="4089962"/>
            <a:ext cx="459043" cy="4135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Rectangle 32"/>
          <p:cNvSpPr/>
          <p:nvPr/>
        </p:nvSpPr>
        <p:spPr>
          <a:xfrm>
            <a:off x="1324889" y="3151111"/>
            <a:ext cx="2103120" cy="543982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Ins="365760" rtlCol="0" anchor="t"/>
          <a:lstStyle/>
          <a:p>
            <a:r>
              <a:rPr lang="en-US" sz="1100" b="1">
                <a:solidFill>
                  <a:schemeClr val="bg1"/>
                </a:solidFill>
              </a:rPr>
              <a:t>Source Code Repository</a:t>
            </a:r>
          </a:p>
        </p:txBody>
      </p:sp>
      <p:pic>
        <p:nvPicPr>
          <p:cNvPr id="34" name="Picture 4" descr="D:\Users\mudjain\Desktop\download (2).jpg"/>
          <p:cNvPicPr>
            <a:picLocks noChangeAspect="1" noChangeArrowheads="1"/>
          </p:cNvPicPr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3147157" y="3788534"/>
            <a:ext cx="280852" cy="252412"/>
          </a:xfrm>
          <a:prstGeom prst="rect">
            <a:avLst/>
          </a:prstGeom>
          <a:noFill/>
        </p:spPr>
      </p:pic>
      <p:sp>
        <p:nvSpPr>
          <p:cNvPr id="35" name="Rectangle 34"/>
          <p:cNvSpPr/>
          <p:nvPr/>
        </p:nvSpPr>
        <p:spPr>
          <a:xfrm>
            <a:off x="1324890" y="1760770"/>
            <a:ext cx="937148" cy="846014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Ins="182880" rtlCol="0" anchor="t"/>
          <a:lstStyle/>
          <a:p>
            <a:r>
              <a:rPr lang="en-US" sz="1100" b="1">
                <a:solidFill>
                  <a:schemeClr val="bg1"/>
                </a:solidFill>
              </a:rPr>
              <a:t>Compile</a:t>
            </a:r>
          </a:p>
        </p:txBody>
      </p:sp>
      <p:pic>
        <p:nvPicPr>
          <p:cNvPr id="36" name="Picture 3" descr="D:\Users\mudjain\Desktop\download.jpg"/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473226" y="4134882"/>
            <a:ext cx="330194" cy="330194"/>
          </a:xfrm>
          <a:prstGeom prst="rect">
            <a:avLst/>
          </a:prstGeom>
          <a:noFill/>
        </p:spPr>
      </p:pic>
      <p:pic>
        <p:nvPicPr>
          <p:cNvPr id="37" name="Picture 4" descr="D:\Users\mudjain\Desktop\download (2).jpg"/>
          <p:cNvPicPr>
            <a:picLocks noChangeAspect="1" noChangeArrowheads="1"/>
          </p:cNvPicPr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3147157" y="3151111"/>
            <a:ext cx="280852" cy="252412"/>
          </a:xfrm>
          <a:prstGeom prst="rect">
            <a:avLst/>
          </a:prstGeom>
          <a:noFill/>
        </p:spPr>
      </p:pic>
      <p:pic>
        <p:nvPicPr>
          <p:cNvPr id="38" name="Picture 3" descr="D:\Users\mudjain\Desktop\images (3).jpg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5974" y="2326127"/>
            <a:ext cx="326790" cy="2315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Rounded Rectangle 38"/>
          <p:cNvSpPr/>
          <p:nvPr/>
        </p:nvSpPr>
        <p:spPr>
          <a:xfrm>
            <a:off x="3683754" y="3077344"/>
            <a:ext cx="2286000" cy="2955030"/>
          </a:xfrm>
          <a:prstGeom prst="roundRect">
            <a:avLst>
              <a:gd name="adj" fmla="val 0"/>
            </a:avLst>
          </a:prstGeom>
          <a:solidFill>
            <a:schemeClr val="tx2">
              <a:lumMod val="20000"/>
              <a:lumOff val="80000"/>
              <a:alpha val="85000"/>
            </a:schemeClr>
          </a:solidFill>
          <a:ln w="158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4669040" y="1760770"/>
            <a:ext cx="1210842" cy="846014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Ins="182880" rtlCol="0" anchor="t"/>
          <a:lstStyle/>
          <a:p>
            <a:r>
              <a:rPr lang="en-US" sz="1100" b="1">
                <a:solidFill>
                  <a:schemeClr val="bg1"/>
                </a:solidFill>
              </a:rPr>
              <a:t>Packaging</a:t>
            </a:r>
          </a:p>
        </p:txBody>
      </p:sp>
      <p:sp>
        <p:nvSpPr>
          <p:cNvPr id="41" name="Rounded Rectangle 40"/>
          <p:cNvSpPr/>
          <p:nvPr/>
        </p:nvSpPr>
        <p:spPr>
          <a:xfrm>
            <a:off x="6151689" y="1626358"/>
            <a:ext cx="2286000" cy="4406016"/>
          </a:xfrm>
          <a:prstGeom prst="roundRect">
            <a:avLst>
              <a:gd name="adj" fmla="val 0"/>
            </a:avLst>
          </a:prstGeom>
          <a:solidFill>
            <a:schemeClr val="tx2">
              <a:lumMod val="20000"/>
              <a:lumOff val="80000"/>
              <a:alpha val="85000"/>
            </a:schemeClr>
          </a:solidFill>
          <a:ln w="158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pic>
        <p:nvPicPr>
          <p:cNvPr id="42" name="Picture 2" descr="D:\Users\mudjain\Desktop\images.jpg"/>
          <p:cNvPicPr>
            <a:picLocks noChangeAspect="1" noChangeArrowheads="1"/>
          </p:cNvPicPr>
          <p:nvPr/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4089" t="5200" r="14089" b="13022"/>
          <a:stretch>
            <a:fillRect/>
          </a:stretch>
        </p:blipFill>
        <p:spPr bwMode="auto">
          <a:xfrm>
            <a:off x="4205203" y="2105786"/>
            <a:ext cx="302713" cy="344674"/>
          </a:xfrm>
          <a:prstGeom prst="rect">
            <a:avLst/>
          </a:prstGeom>
          <a:noFill/>
        </p:spPr>
      </p:pic>
      <p:pic>
        <p:nvPicPr>
          <p:cNvPr id="43" name="Picture 5" descr="D:\Users\mudjain\Desktop\00100020804_tns.png"/>
          <p:cNvPicPr>
            <a:picLocks noChangeAspect="1" noChangeArrowheads="1"/>
          </p:cNvPicPr>
          <p:nvPr/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6369" y="1996895"/>
            <a:ext cx="543409" cy="5434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Rectangle 43"/>
          <p:cNvSpPr/>
          <p:nvPr/>
        </p:nvSpPr>
        <p:spPr>
          <a:xfrm>
            <a:off x="3775194" y="3151111"/>
            <a:ext cx="2104689" cy="763629"/>
          </a:xfrm>
          <a:prstGeom prst="rect">
            <a:avLst/>
          </a:prstGeom>
          <a:solidFill>
            <a:schemeClr val="bg1"/>
          </a:solidFill>
          <a:ln w="158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1097280" rtlCol="0" anchor="t"/>
          <a:lstStyle/>
          <a:p>
            <a:r>
              <a:rPr lang="en-US" sz="1100" b="1">
                <a:solidFill>
                  <a:schemeClr val="bg1"/>
                </a:solidFill>
              </a:rPr>
              <a:t>Environment Provisioning</a:t>
            </a:r>
          </a:p>
        </p:txBody>
      </p:sp>
      <p:pic>
        <p:nvPicPr>
          <p:cNvPr id="45" name="Picture 4" descr="D:\Users\mudjain\Desktop\download (2).jpg"/>
          <p:cNvPicPr>
            <a:picLocks noChangeAspect="1" noChangeArrowheads="1"/>
          </p:cNvPicPr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5599030" y="3151110"/>
            <a:ext cx="280852" cy="252412"/>
          </a:xfrm>
          <a:prstGeom prst="rect">
            <a:avLst/>
          </a:prstGeom>
          <a:noFill/>
        </p:spPr>
      </p:pic>
      <p:pic>
        <p:nvPicPr>
          <p:cNvPr id="46" name="Picture 5" descr="D:\Users\mudjain\Desktop\bESDM3tb.jpeg"/>
          <p:cNvPicPr>
            <a:picLocks noChangeAspect="1" noChangeArrowheads="1"/>
          </p:cNvPicPr>
          <p:nvPr/>
        </p:nvPicPr>
        <p:blipFill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4996265" y="2038955"/>
            <a:ext cx="457866" cy="457866"/>
          </a:xfrm>
          <a:prstGeom prst="rect">
            <a:avLst/>
          </a:prstGeom>
          <a:noFill/>
        </p:spPr>
      </p:pic>
      <p:sp>
        <p:nvSpPr>
          <p:cNvPr id="47" name="Rectangle 46"/>
          <p:cNvSpPr/>
          <p:nvPr/>
        </p:nvSpPr>
        <p:spPr>
          <a:xfrm>
            <a:off x="3775194" y="4041088"/>
            <a:ext cx="2103120" cy="881028"/>
          </a:xfrm>
          <a:prstGeom prst="rect">
            <a:avLst/>
          </a:prstGeom>
          <a:solidFill>
            <a:schemeClr val="bg1"/>
          </a:solidFill>
          <a:ln w="158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1097280" rtlCol="0" anchor="t"/>
          <a:lstStyle/>
          <a:p>
            <a:r>
              <a:rPr lang="en-US" sz="1100" b="1">
                <a:solidFill>
                  <a:schemeClr val="bg1"/>
                </a:solidFill>
              </a:rPr>
              <a:t>System of Records – Service Virtualization</a:t>
            </a:r>
          </a:p>
        </p:txBody>
      </p:sp>
      <p:pic>
        <p:nvPicPr>
          <p:cNvPr id="48" name="Picture 5" descr="D:\Users\mudjain\Desktop\bESDM3tb.jpeg"/>
          <p:cNvPicPr>
            <a:picLocks noChangeAspect="1" noChangeArrowheads="1"/>
          </p:cNvPicPr>
          <p:nvPr/>
        </p:nvPicPr>
        <p:blipFill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4599390" y="3333447"/>
            <a:ext cx="457866" cy="457866"/>
          </a:xfrm>
          <a:prstGeom prst="rect">
            <a:avLst/>
          </a:prstGeom>
          <a:noFill/>
        </p:spPr>
      </p:pic>
      <p:pic>
        <p:nvPicPr>
          <p:cNvPr id="49" name="Picture 6" descr="D:\Users\mudjain\Desktop\web-server-icons.jpg"/>
          <p:cNvPicPr>
            <a:picLocks noChangeAspect="1" noChangeArrowheads="1"/>
          </p:cNvPicPr>
          <p:nvPr/>
        </p:nvPicPr>
        <p:blipFill>
          <a:blip r:embed="rId1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13556" y="3523549"/>
            <a:ext cx="187351" cy="248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" name="Picture 7" descr="D:\Users\mudjain\Desktop\download.png"/>
          <p:cNvPicPr>
            <a:picLocks noChangeAspect="1" noChangeArrowheads="1"/>
          </p:cNvPicPr>
          <p:nvPr/>
        </p:nvPicPr>
        <p:blipFill>
          <a:blip r:embed="rId1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23390" y="3403513"/>
            <a:ext cx="145651" cy="1456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" name="Rectangle 50"/>
          <p:cNvSpPr/>
          <p:nvPr/>
        </p:nvSpPr>
        <p:spPr>
          <a:xfrm>
            <a:off x="3776763" y="5056572"/>
            <a:ext cx="2103120" cy="881028"/>
          </a:xfrm>
          <a:prstGeom prst="rect">
            <a:avLst/>
          </a:prstGeom>
          <a:solidFill>
            <a:schemeClr val="bg1"/>
          </a:solidFill>
          <a:ln w="158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1097280" rtlCol="0" anchor="t"/>
          <a:lstStyle/>
          <a:p>
            <a:r>
              <a:rPr lang="en-US" sz="1100" b="1">
                <a:solidFill>
                  <a:schemeClr val="bg1"/>
                </a:solidFill>
              </a:rPr>
              <a:t>Acceptance Test</a:t>
            </a:r>
          </a:p>
        </p:txBody>
      </p:sp>
      <p:pic>
        <p:nvPicPr>
          <p:cNvPr id="52" name="Picture 4" descr="D:\Users\mudjain\Desktop\download (2).jpg"/>
          <p:cNvPicPr>
            <a:picLocks noChangeAspect="1" noChangeArrowheads="1"/>
          </p:cNvPicPr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5597462" y="4041088"/>
            <a:ext cx="280852" cy="252412"/>
          </a:xfrm>
          <a:prstGeom prst="rect">
            <a:avLst/>
          </a:prstGeom>
          <a:noFill/>
        </p:spPr>
      </p:pic>
      <p:pic>
        <p:nvPicPr>
          <p:cNvPr id="53" name="Picture 6" descr="D:\Users\mudjain\Desktop\images (1).jpg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4478072" y="4375284"/>
            <a:ext cx="497763" cy="478432"/>
          </a:xfrm>
          <a:prstGeom prst="rect">
            <a:avLst/>
          </a:prstGeom>
          <a:noFill/>
        </p:spPr>
      </p:pic>
      <p:pic>
        <p:nvPicPr>
          <p:cNvPr id="54" name="Picture 8" descr="D:\Users\mudjain\Desktop\search-512.pn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71350" y="5244274"/>
            <a:ext cx="552719" cy="5527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5" name="Round Same Side Corner Rectangle 54"/>
          <p:cNvSpPr/>
          <p:nvPr/>
        </p:nvSpPr>
        <p:spPr>
          <a:xfrm>
            <a:off x="6151689" y="6040861"/>
            <a:ext cx="2286000" cy="272630"/>
          </a:xfrm>
          <a:prstGeom prst="round2SameRect">
            <a:avLst>
              <a:gd name="adj1" fmla="val 0"/>
              <a:gd name="adj2" fmla="val 5939"/>
            </a:avLst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algn="ctr"/>
            <a:r>
              <a:rPr lang="en-US" sz="1400" b="1">
                <a:solidFill>
                  <a:schemeClr val="bg1"/>
                </a:solidFill>
              </a:rPr>
              <a:t>Load + </a:t>
            </a:r>
            <a:r>
              <a:rPr lang="en-US" sz="1400" b="1" err="1">
                <a:solidFill>
                  <a:schemeClr val="bg1"/>
                </a:solidFill>
              </a:rPr>
              <a:t>Perf</a:t>
            </a:r>
            <a:r>
              <a:rPr lang="en-US" sz="1400" b="1">
                <a:solidFill>
                  <a:schemeClr val="bg1"/>
                </a:solidFill>
              </a:rPr>
              <a:t> Stage</a:t>
            </a:r>
          </a:p>
        </p:txBody>
      </p:sp>
      <p:sp>
        <p:nvSpPr>
          <p:cNvPr id="56" name="Round Same Side Corner Rectangle 55"/>
          <p:cNvSpPr/>
          <p:nvPr/>
        </p:nvSpPr>
        <p:spPr>
          <a:xfrm>
            <a:off x="8589558" y="4024737"/>
            <a:ext cx="2286000" cy="272630"/>
          </a:xfrm>
          <a:prstGeom prst="round2SameRect">
            <a:avLst>
              <a:gd name="adj1" fmla="val 0"/>
              <a:gd name="adj2" fmla="val 5939"/>
            </a:avLst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algn="ctr"/>
            <a:r>
              <a:rPr lang="en-US" sz="1400" b="1">
                <a:solidFill>
                  <a:schemeClr val="bg1"/>
                </a:solidFill>
              </a:rPr>
              <a:t>Release Stage</a:t>
            </a:r>
          </a:p>
        </p:txBody>
      </p:sp>
      <p:sp>
        <p:nvSpPr>
          <p:cNvPr id="57" name="Round Same Side Corner Rectangle 56"/>
          <p:cNvSpPr/>
          <p:nvPr/>
        </p:nvSpPr>
        <p:spPr>
          <a:xfrm>
            <a:off x="6151689" y="6040861"/>
            <a:ext cx="2286000" cy="272630"/>
          </a:xfrm>
          <a:prstGeom prst="round2SameRect">
            <a:avLst>
              <a:gd name="adj1" fmla="val 0"/>
              <a:gd name="adj2" fmla="val 5939"/>
            </a:avLst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algn="ctr"/>
            <a:r>
              <a:rPr lang="en-US" sz="1400" b="1">
                <a:solidFill>
                  <a:schemeClr val="bg1"/>
                </a:solidFill>
              </a:rPr>
              <a:t>Load + </a:t>
            </a:r>
            <a:r>
              <a:rPr lang="en-US" sz="1400" b="1" err="1">
                <a:solidFill>
                  <a:schemeClr val="bg1"/>
                </a:solidFill>
              </a:rPr>
              <a:t>Perf</a:t>
            </a:r>
            <a:r>
              <a:rPr lang="en-US" sz="1400" b="1">
                <a:solidFill>
                  <a:schemeClr val="bg1"/>
                </a:solidFill>
              </a:rPr>
              <a:t> Stage</a:t>
            </a:r>
          </a:p>
        </p:txBody>
      </p:sp>
      <p:sp>
        <p:nvSpPr>
          <p:cNvPr id="58" name="Rectangle 57"/>
          <p:cNvSpPr/>
          <p:nvPr/>
        </p:nvSpPr>
        <p:spPr>
          <a:xfrm>
            <a:off x="6243129" y="1692384"/>
            <a:ext cx="2103120" cy="9144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1097280" rtlCol="0" anchor="t"/>
          <a:lstStyle/>
          <a:p>
            <a:r>
              <a:rPr lang="en-US" sz="1100" b="1">
                <a:solidFill>
                  <a:schemeClr val="bg1"/>
                </a:solidFill>
              </a:rPr>
              <a:t>Deployable Software</a:t>
            </a:r>
          </a:p>
        </p:txBody>
      </p:sp>
      <p:grpSp>
        <p:nvGrpSpPr>
          <p:cNvPr id="59" name="Group 58"/>
          <p:cNvGrpSpPr/>
          <p:nvPr/>
        </p:nvGrpSpPr>
        <p:grpSpPr>
          <a:xfrm>
            <a:off x="5219817" y="5344662"/>
            <a:ext cx="543701" cy="457866"/>
            <a:chOff x="6903190" y="2081957"/>
            <a:chExt cx="543701" cy="457866"/>
          </a:xfrm>
        </p:grpSpPr>
        <p:pic>
          <p:nvPicPr>
            <p:cNvPr id="60" name="Picture 5" descr="D:\Users\mudjain\Desktop\bESDM3tb.jpeg"/>
            <p:cNvPicPr>
              <a:picLocks noChangeAspect="1" noChangeArrowheads="1"/>
            </p:cNvPicPr>
            <p:nvPr/>
          </p:nvPicPr>
          <p:blipFill>
            <a:blip r:embed="rId11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6989025" y="2081957"/>
              <a:ext cx="457866" cy="457866"/>
            </a:xfrm>
            <a:prstGeom prst="rect">
              <a:avLst/>
            </a:prstGeom>
            <a:noFill/>
          </p:spPr>
        </p:pic>
        <p:pic>
          <p:nvPicPr>
            <p:cNvPr id="61" name="Picture 6" descr="D:\Users\mudjain\Desktop\web-server-icons.jpg"/>
            <p:cNvPicPr>
              <a:picLocks noChangeAspect="1" noChangeArrowheads="1"/>
            </p:cNvPicPr>
            <p:nvPr/>
          </p:nvPicPr>
          <p:blipFill>
            <a:blip r:embed="rId1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03190" y="2272059"/>
              <a:ext cx="187351" cy="2485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2" name="Picture 7" descr="D:\Users\mudjain\Desktop\download.png"/>
            <p:cNvPicPr>
              <a:picLocks noChangeAspect="1" noChangeArrowheads="1"/>
            </p:cNvPicPr>
            <p:nvPr/>
          </p:nvPicPr>
          <p:blipFill>
            <a:blip r:embed="rId1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13024" y="2152022"/>
              <a:ext cx="145651" cy="14565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63" name="Rectangle 62"/>
          <p:cNvSpPr/>
          <p:nvPr/>
        </p:nvSpPr>
        <p:spPr>
          <a:xfrm>
            <a:off x="6243129" y="2784190"/>
            <a:ext cx="2103120" cy="9144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1188720" rtlCol="0" anchor="t"/>
          <a:lstStyle/>
          <a:p>
            <a:r>
              <a:rPr lang="en-US" sz="1100" b="1">
                <a:solidFill>
                  <a:schemeClr val="bg1"/>
                </a:solidFill>
              </a:rPr>
              <a:t>Load Testing</a:t>
            </a:r>
          </a:p>
        </p:txBody>
      </p:sp>
      <p:sp>
        <p:nvSpPr>
          <p:cNvPr id="64" name="Rectangle 63"/>
          <p:cNvSpPr/>
          <p:nvPr/>
        </p:nvSpPr>
        <p:spPr>
          <a:xfrm>
            <a:off x="6243129" y="3875996"/>
            <a:ext cx="2103120" cy="9144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1188720" rtlCol="0" anchor="t"/>
          <a:lstStyle/>
          <a:p>
            <a:r>
              <a:rPr lang="en-US" sz="1100" b="1" err="1">
                <a:solidFill>
                  <a:schemeClr val="bg1"/>
                </a:solidFill>
              </a:rPr>
              <a:t>Perf</a:t>
            </a:r>
            <a:r>
              <a:rPr lang="en-US" sz="1100" b="1">
                <a:solidFill>
                  <a:schemeClr val="bg1"/>
                </a:solidFill>
              </a:rPr>
              <a:t> Testing</a:t>
            </a:r>
          </a:p>
        </p:txBody>
      </p:sp>
      <p:sp>
        <p:nvSpPr>
          <p:cNvPr id="65" name="Rectangle 64"/>
          <p:cNvSpPr/>
          <p:nvPr/>
        </p:nvSpPr>
        <p:spPr>
          <a:xfrm>
            <a:off x="6243129" y="4967803"/>
            <a:ext cx="2103120" cy="9144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1188720" rtlCol="0" anchor="t"/>
          <a:lstStyle/>
          <a:p>
            <a:r>
              <a:rPr lang="en-US" sz="1100" b="1">
                <a:solidFill>
                  <a:schemeClr val="bg1"/>
                </a:solidFill>
              </a:rPr>
              <a:t>Ready to release Software</a:t>
            </a:r>
          </a:p>
        </p:txBody>
      </p:sp>
      <p:pic>
        <p:nvPicPr>
          <p:cNvPr id="66" name="Picture 6" descr="D:\Users\mudjain\Desktop\images (1).jpg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093689" y="1876270"/>
            <a:ext cx="497763" cy="478432"/>
          </a:xfrm>
          <a:prstGeom prst="rect">
            <a:avLst/>
          </a:prstGeom>
          <a:noFill/>
        </p:spPr>
      </p:pic>
      <p:pic>
        <p:nvPicPr>
          <p:cNvPr id="67" name="Picture 10" descr="D:\Users\mudjain\Desktop\load.png"/>
          <p:cNvPicPr>
            <a:picLocks noChangeAspect="1" noChangeArrowheads="1"/>
          </p:cNvPicPr>
          <p:nvPr/>
        </p:nvPicPr>
        <p:blipFill>
          <a:blip r:embed="rId1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1868" y="2757379"/>
            <a:ext cx="537308" cy="4022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8" name="Picture 11" descr="D:\Users\mudjain\Desktop\download (6).jpg"/>
          <p:cNvPicPr>
            <a:picLocks noChangeAspect="1" noChangeArrowheads="1"/>
          </p:cNvPicPr>
          <p:nvPr/>
        </p:nvPicPr>
        <p:blipFill>
          <a:blip r:embed="rId16">
            <a:clrChange>
              <a:clrFrom>
                <a:srgbClr val="FBFAF8"/>
              </a:clrFrom>
              <a:clrTo>
                <a:srgbClr val="FBFAF8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7094" y="4065372"/>
            <a:ext cx="546687" cy="4597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9" name="Picture 3" descr="D:\Users\mudjain\Desktop\images (3).jpg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43698" y="4250344"/>
            <a:ext cx="326790" cy="2315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0" name="Picture 3" descr="D:\Users\mudjain\Desktop\images (3).jpg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9999" y="3238152"/>
            <a:ext cx="326790" cy="2315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" name="Picture 3" descr="D:\Users\mudjain\Desktop\images (3).jpg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22070" y="5457803"/>
            <a:ext cx="326790" cy="2315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2" name="Group 71"/>
          <p:cNvGrpSpPr/>
          <p:nvPr/>
        </p:nvGrpSpPr>
        <p:grpSpPr>
          <a:xfrm>
            <a:off x="7673115" y="4867295"/>
            <a:ext cx="906973" cy="604172"/>
            <a:chOff x="7806927" y="3991930"/>
            <a:chExt cx="906973" cy="604172"/>
          </a:xfrm>
        </p:grpSpPr>
        <p:pic>
          <p:nvPicPr>
            <p:cNvPr id="73" name="Picture 12" descr="D:\Project Data\MJ's Data\Assets\Pics And Logos\thumbs-up-and-down.jpg"/>
            <p:cNvPicPr>
              <a:picLocks noChangeAspect="1" noChangeArrowheads="1"/>
            </p:cNvPicPr>
            <p:nvPr/>
          </p:nvPicPr>
          <p:blipFill rotWithShape="1">
            <a:blip r:embed="rId17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510" t="9642" r="48968" b="32255"/>
            <a:stretch/>
          </p:blipFill>
          <p:spPr bwMode="auto">
            <a:xfrm>
              <a:off x="8033272" y="3991930"/>
              <a:ext cx="444294" cy="4201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4" name="TextBox 73"/>
            <p:cNvSpPr txBox="1"/>
            <p:nvPr/>
          </p:nvSpPr>
          <p:spPr>
            <a:xfrm>
              <a:off x="7806927" y="4334492"/>
              <a:ext cx="906973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b="1" err="1">
                  <a:solidFill>
                    <a:schemeClr val="bg1"/>
                  </a:solidFill>
                </a:rPr>
                <a:t>SignOff</a:t>
              </a:r>
              <a:endParaRPr lang="en-US" sz="1100" b="1">
                <a:solidFill>
                  <a:schemeClr val="bg1"/>
                </a:solidFill>
              </a:endParaRPr>
            </a:p>
          </p:txBody>
        </p:sp>
      </p:grpSp>
      <p:pic>
        <p:nvPicPr>
          <p:cNvPr id="75" name="Picture 10" descr="D:\Users\mudjain\Desktop\download (1).png"/>
          <p:cNvPicPr>
            <a:picLocks noChangeAspect="1" noChangeArrowheads="1"/>
          </p:cNvPicPr>
          <p:nvPr/>
        </p:nvPicPr>
        <p:blipFill>
          <a:blip r:embed="rId1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8703780" y="3214095"/>
            <a:ext cx="452992" cy="506411"/>
          </a:xfrm>
          <a:prstGeom prst="rect">
            <a:avLst/>
          </a:prstGeom>
          <a:noFill/>
        </p:spPr>
      </p:pic>
      <p:pic>
        <p:nvPicPr>
          <p:cNvPr id="76" name="Picture 10" descr="D:\Users\mudjain\Desktop\download (1).png"/>
          <p:cNvPicPr>
            <a:picLocks noChangeAspect="1" noChangeArrowheads="1"/>
          </p:cNvPicPr>
          <p:nvPr/>
        </p:nvPicPr>
        <p:blipFill>
          <a:blip r:embed="rId1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8713860" y="3050372"/>
            <a:ext cx="452992" cy="506411"/>
          </a:xfrm>
          <a:prstGeom prst="rect">
            <a:avLst/>
          </a:prstGeom>
          <a:noFill/>
        </p:spPr>
      </p:pic>
      <p:pic>
        <p:nvPicPr>
          <p:cNvPr id="77" name="Picture 4" descr="D:\Users\mudjain\Desktop\download (2).jpg"/>
          <p:cNvPicPr>
            <a:picLocks noChangeAspect="1" noChangeArrowheads="1"/>
          </p:cNvPicPr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0259137" y="1770928"/>
            <a:ext cx="538345" cy="483830"/>
          </a:xfrm>
          <a:prstGeom prst="rect">
            <a:avLst/>
          </a:prstGeom>
          <a:noFill/>
        </p:spPr>
      </p:pic>
      <p:sp>
        <p:nvSpPr>
          <p:cNvPr id="78" name="Round Same Side Corner Rectangle 77"/>
          <p:cNvSpPr/>
          <p:nvPr/>
        </p:nvSpPr>
        <p:spPr>
          <a:xfrm>
            <a:off x="8589558" y="4024737"/>
            <a:ext cx="2286000" cy="272630"/>
          </a:xfrm>
          <a:prstGeom prst="round2SameRect">
            <a:avLst>
              <a:gd name="adj1" fmla="val 0"/>
              <a:gd name="adj2" fmla="val 5939"/>
            </a:avLst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algn="ctr"/>
            <a:r>
              <a:rPr lang="en-US" sz="1400" b="1">
                <a:solidFill>
                  <a:schemeClr val="bg1"/>
                </a:solidFill>
              </a:rPr>
              <a:t>Release Stage</a:t>
            </a:r>
          </a:p>
        </p:txBody>
      </p:sp>
      <p:pic>
        <p:nvPicPr>
          <p:cNvPr id="79" name="Picture 6" descr="D:\Users\mudjain\Desktop\images (1).jpg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9456380" y="2207938"/>
            <a:ext cx="497763" cy="478432"/>
          </a:xfrm>
          <a:prstGeom prst="rect">
            <a:avLst/>
          </a:prstGeom>
          <a:noFill/>
        </p:spPr>
      </p:pic>
      <p:pic>
        <p:nvPicPr>
          <p:cNvPr id="80" name="Picture 6" descr="D:\Users\mudjain\Desktop\Ubuntu_Update_manager_icon_v2_by_myc1034-300x300.png"/>
          <p:cNvPicPr>
            <a:picLocks noChangeAspect="1" noChangeArrowheads="1"/>
          </p:cNvPicPr>
          <p:nvPr/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2366466" y="3151111"/>
            <a:ext cx="542472" cy="542472"/>
          </a:xfrm>
          <a:prstGeom prst="rect">
            <a:avLst/>
          </a:prstGeom>
          <a:noFill/>
        </p:spPr>
      </p:pic>
      <p:pic>
        <p:nvPicPr>
          <p:cNvPr id="81" name="Picture 2" descr="D:\Users\mudjain\Desktop\tumblr_static_9fszt6kfc5s8g0o8cockwc4cg.png"/>
          <p:cNvPicPr>
            <a:picLocks noChangeAspect="1" noChangeArrowheads="1"/>
          </p:cNvPicPr>
          <p:nvPr/>
        </p:nvPicPr>
        <p:blipFill rotWithShape="1">
          <a:blip r:embed="rId20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086" t="9671" r="8769" b="8586"/>
          <a:stretch/>
        </p:blipFill>
        <p:spPr bwMode="auto">
          <a:xfrm>
            <a:off x="1502002" y="2051119"/>
            <a:ext cx="481220" cy="4847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" name="Picture 3" descr="D:\Users\mudjain\Desktop\icon-tdd-6fb850c43f6adf78e7c6c1ab058035c5.png"/>
          <p:cNvPicPr>
            <a:picLocks noChangeAspect="1" noChangeArrowheads="1"/>
          </p:cNvPicPr>
          <p:nvPr/>
        </p:nvPicPr>
        <p:blipFill>
          <a:blip r:embed="rId21" cstate="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0326" y="2019906"/>
            <a:ext cx="510873" cy="5108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3" name="Picture 8" descr="D:\Users\mudjain\Desktop\search-512.png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70955" y="2037425"/>
            <a:ext cx="346263" cy="346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4" name="Rounded Rectangle 83"/>
          <p:cNvSpPr/>
          <p:nvPr/>
        </p:nvSpPr>
        <p:spPr>
          <a:xfrm>
            <a:off x="8589558" y="4811424"/>
            <a:ext cx="2286000" cy="1502067"/>
          </a:xfrm>
          <a:prstGeom prst="roundRect">
            <a:avLst>
              <a:gd name="adj" fmla="val 0"/>
            </a:avLst>
          </a:prstGeom>
          <a:solidFill>
            <a:schemeClr val="tx2">
              <a:lumMod val="20000"/>
              <a:lumOff val="80000"/>
              <a:alpha val="10000"/>
            </a:schemeClr>
          </a:solidFill>
          <a:ln w="158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85" name="Round Same Side Corner Rectangle 84"/>
          <p:cNvSpPr/>
          <p:nvPr/>
        </p:nvSpPr>
        <p:spPr>
          <a:xfrm>
            <a:off x="8589558" y="4537209"/>
            <a:ext cx="2286000" cy="272630"/>
          </a:xfrm>
          <a:prstGeom prst="round2SameRect">
            <a:avLst>
              <a:gd name="adj1" fmla="val 48912"/>
              <a:gd name="adj2" fmla="val 0"/>
            </a:avLst>
          </a:prstGeom>
          <a:solidFill>
            <a:srgbClr val="00B050"/>
          </a:solidFill>
          <a:ln w="158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algn="ctr"/>
            <a:r>
              <a:rPr lang="en-US" sz="1400" b="1">
                <a:solidFill>
                  <a:schemeClr val="bg1"/>
                </a:solidFill>
              </a:rPr>
              <a:t>Client / Prod. Owner</a:t>
            </a:r>
          </a:p>
        </p:txBody>
      </p:sp>
      <p:grpSp>
        <p:nvGrpSpPr>
          <p:cNvPr id="86" name="Group 85"/>
          <p:cNvGrpSpPr/>
          <p:nvPr/>
        </p:nvGrpSpPr>
        <p:grpSpPr>
          <a:xfrm>
            <a:off x="9661759" y="5273165"/>
            <a:ext cx="906973" cy="604172"/>
            <a:chOff x="7806927" y="3991930"/>
            <a:chExt cx="906973" cy="604172"/>
          </a:xfrm>
        </p:grpSpPr>
        <p:pic>
          <p:nvPicPr>
            <p:cNvPr id="87" name="Picture 12" descr="D:\Project Data\MJ's Data\Assets\Pics And Logos\thumbs-up-and-down.jpg"/>
            <p:cNvPicPr>
              <a:picLocks noChangeAspect="1" noChangeArrowheads="1"/>
            </p:cNvPicPr>
            <p:nvPr/>
          </p:nvPicPr>
          <p:blipFill rotWithShape="1">
            <a:blip r:embed="rId17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510" t="9642" r="48968" b="32255"/>
            <a:stretch/>
          </p:blipFill>
          <p:spPr bwMode="auto">
            <a:xfrm>
              <a:off x="8033272" y="3991930"/>
              <a:ext cx="444294" cy="4201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8" name="TextBox 87"/>
            <p:cNvSpPr txBox="1"/>
            <p:nvPr/>
          </p:nvSpPr>
          <p:spPr>
            <a:xfrm>
              <a:off x="7806927" y="4334492"/>
              <a:ext cx="906973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b="1" err="1">
                  <a:solidFill>
                    <a:schemeClr val="bg1"/>
                  </a:solidFill>
                </a:rPr>
                <a:t>SignOff</a:t>
              </a:r>
              <a:endParaRPr lang="en-US" sz="1100" b="1">
                <a:solidFill>
                  <a:schemeClr val="bg1"/>
                </a:solidFill>
              </a:endParaRPr>
            </a:p>
          </p:txBody>
        </p:sp>
      </p:grpSp>
      <p:pic>
        <p:nvPicPr>
          <p:cNvPr id="89" name="Picture 2" descr="D:\Project Data\MJ's Data\Assets\Pics And Logos\Human\Picture1.png"/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57683" y="5128374"/>
            <a:ext cx="1053252" cy="10628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0" name="Group 89"/>
          <p:cNvGrpSpPr/>
          <p:nvPr/>
        </p:nvGrpSpPr>
        <p:grpSpPr>
          <a:xfrm>
            <a:off x="7673115" y="801367"/>
            <a:ext cx="906973" cy="604172"/>
            <a:chOff x="7806927" y="3991930"/>
            <a:chExt cx="906973" cy="604172"/>
          </a:xfrm>
        </p:grpSpPr>
        <p:pic>
          <p:nvPicPr>
            <p:cNvPr id="91" name="Picture 12" descr="D:\Project Data\MJ's Data\Assets\Pics And Logos\thumbs-up-and-down.jpg"/>
            <p:cNvPicPr>
              <a:picLocks noChangeAspect="1" noChangeArrowheads="1"/>
            </p:cNvPicPr>
            <p:nvPr/>
          </p:nvPicPr>
          <p:blipFill rotWithShape="1">
            <a:blip r:embed="rId17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510" t="9642" r="48968" b="32255"/>
            <a:stretch/>
          </p:blipFill>
          <p:spPr bwMode="auto">
            <a:xfrm>
              <a:off x="8033272" y="3991930"/>
              <a:ext cx="444294" cy="4201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2" name="TextBox 91"/>
            <p:cNvSpPr txBox="1"/>
            <p:nvPr/>
          </p:nvSpPr>
          <p:spPr>
            <a:xfrm>
              <a:off x="7806927" y="4334492"/>
              <a:ext cx="906973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b="1" err="1">
                  <a:solidFill>
                    <a:schemeClr val="bg1"/>
                  </a:solidFill>
                </a:rPr>
                <a:t>SignOff</a:t>
              </a:r>
              <a:endParaRPr lang="en-US" sz="1100" b="1">
                <a:solidFill>
                  <a:schemeClr val="bg1"/>
                </a:solidFill>
              </a:endParaRPr>
            </a:p>
          </p:txBody>
        </p:sp>
      </p:grpSp>
      <p:pic>
        <p:nvPicPr>
          <p:cNvPr id="93" name="Picture 10" descr="D:\Users\mudjain\Desktop\download (1).png"/>
          <p:cNvPicPr>
            <a:picLocks noChangeAspect="1" noChangeArrowheads="1"/>
          </p:cNvPicPr>
          <p:nvPr/>
        </p:nvPicPr>
        <p:blipFill>
          <a:blip r:embed="rId1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8713860" y="3366495"/>
            <a:ext cx="452992" cy="506411"/>
          </a:xfrm>
          <a:prstGeom prst="rect">
            <a:avLst/>
          </a:prstGeom>
          <a:noFill/>
        </p:spPr>
      </p:pic>
      <p:sp>
        <p:nvSpPr>
          <p:cNvPr id="116" name="Rectangle 115"/>
          <p:cNvSpPr/>
          <p:nvPr/>
        </p:nvSpPr>
        <p:spPr>
          <a:xfrm>
            <a:off x="3473900" y="1759092"/>
            <a:ext cx="1119818" cy="846014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t"/>
          <a:lstStyle/>
          <a:p>
            <a:r>
              <a:rPr lang="en-US" sz="1100" b="1">
                <a:solidFill>
                  <a:schemeClr val="tx1"/>
                </a:solidFill>
              </a:rPr>
              <a:t>Static Analysis</a:t>
            </a:r>
          </a:p>
        </p:txBody>
      </p:sp>
      <p:sp>
        <p:nvSpPr>
          <p:cNvPr id="117" name="Rectangle 116"/>
          <p:cNvSpPr/>
          <p:nvPr/>
        </p:nvSpPr>
        <p:spPr>
          <a:xfrm>
            <a:off x="2354016" y="1759092"/>
            <a:ext cx="1011581" cy="846014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Ins="182880" rtlCol="0" anchor="t"/>
          <a:lstStyle/>
          <a:p>
            <a:r>
              <a:rPr lang="en-US" sz="1100" b="1">
                <a:solidFill>
                  <a:schemeClr val="bg1"/>
                </a:solidFill>
              </a:rPr>
              <a:t>Unit </a:t>
            </a:r>
            <a:r>
              <a:rPr lang="en-US" sz="1100" b="1">
                <a:solidFill>
                  <a:schemeClr val="tx1"/>
                </a:solidFill>
              </a:rPr>
              <a:t>Test</a:t>
            </a:r>
          </a:p>
        </p:txBody>
      </p:sp>
      <p:sp>
        <p:nvSpPr>
          <p:cNvPr id="118" name="Rectangle 117"/>
          <p:cNvSpPr/>
          <p:nvPr/>
        </p:nvSpPr>
        <p:spPr>
          <a:xfrm>
            <a:off x="1322393" y="3786856"/>
            <a:ext cx="2103120" cy="1022890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Ins="365760" rtlCol="0" anchor="t"/>
          <a:lstStyle/>
          <a:p>
            <a:r>
              <a:rPr lang="en-US" sz="1100" b="1">
                <a:solidFill>
                  <a:schemeClr val="tx1"/>
                </a:solidFill>
              </a:rPr>
              <a:t>Development &amp; Configuration</a:t>
            </a:r>
          </a:p>
        </p:txBody>
      </p:sp>
      <p:sp>
        <p:nvSpPr>
          <p:cNvPr id="119" name="Rectangle 27"/>
          <p:cNvSpPr/>
          <p:nvPr/>
        </p:nvSpPr>
        <p:spPr>
          <a:xfrm>
            <a:off x="1322393" y="4912034"/>
            <a:ext cx="2103120" cy="1024508"/>
          </a:xfrm>
          <a:custGeom>
            <a:avLst/>
            <a:gdLst>
              <a:gd name="connsiteX0" fmla="*/ 0 w 2342339"/>
              <a:gd name="connsiteY0" fmla="*/ 0 h 1022890"/>
              <a:gd name="connsiteX1" fmla="*/ 2342339 w 2342339"/>
              <a:gd name="connsiteY1" fmla="*/ 0 h 1022890"/>
              <a:gd name="connsiteX2" fmla="*/ 2342339 w 2342339"/>
              <a:gd name="connsiteY2" fmla="*/ 1022890 h 1022890"/>
              <a:gd name="connsiteX3" fmla="*/ 0 w 2342339"/>
              <a:gd name="connsiteY3" fmla="*/ 1022890 h 1022890"/>
              <a:gd name="connsiteX4" fmla="*/ 0 w 2342339"/>
              <a:gd name="connsiteY4" fmla="*/ 0 h 1022890"/>
              <a:gd name="connsiteX0" fmla="*/ 0 w 2342339"/>
              <a:gd name="connsiteY0" fmla="*/ 4158 h 1027048"/>
              <a:gd name="connsiteX1" fmla="*/ 1249438 w 2342339"/>
              <a:gd name="connsiteY1" fmla="*/ 0 h 1027048"/>
              <a:gd name="connsiteX2" fmla="*/ 2342339 w 2342339"/>
              <a:gd name="connsiteY2" fmla="*/ 4158 h 1027048"/>
              <a:gd name="connsiteX3" fmla="*/ 2342339 w 2342339"/>
              <a:gd name="connsiteY3" fmla="*/ 1027048 h 1027048"/>
              <a:gd name="connsiteX4" fmla="*/ 0 w 2342339"/>
              <a:gd name="connsiteY4" fmla="*/ 1027048 h 1027048"/>
              <a:gd name="connsiteX5" fmla="*/ 0 w 2342339"/>
              <a:gd name="connsiteY5" fmla="*/ 4158 h 1027048"/>
              <a:gd name="connsiteX0" fmla="*/ 0 w 2342339"/>
              <a:gd name="connsiteY0" fmla="*/ 4158 h 1027048"/>
              <a:gd name="connsiteX1" fmla="*/ 773188 w 2342339"/>
              <a:gd name="connsiteY1" fmla="*/ 6350 h 1027048"/>
              <a:gd name="connsiteX2" fmla="*/ 1249438 w 2342339"/>
              <a:gd name="connsiteY2" fmla="*/ 0 h 1027048"/>
              <a:gd name="connsiteX3" fmla="*/ 2342339 w 2342339"/>
              <a:gd name="connsiteY3" fmla="*/ 4158 h 1027048"/>
              <a:gd name="connsiteX4" fmla="*/ 2342339 w 2342339"/>
              <a:gd name="connsiteY4" fmla="*/ 1027048 h 1027048"/>
              <a:gd name="connsiteX5" fmla="*/ 0 w 2342339"/>
              <a:gd name="connsiteY5" fmla="*/ 1027048 h 1027048"/>
              <a:gd name="connsiteX6" fmla="*/ 0 w 2342339"/>
              <a:gd name="connsiteY6" fmla="*/ 4158 h 1027048"/>
              <a:gd name="connsiteX0" fmla="*/ 1249438 w 2342339"/>
              <a:gd name="connsiteY0" fmla="*/ 0 h 1027048"/>
              <a:gd name="connsiteX1" fmla="*/ 2342339 w 2342339"/>
              <a:gd name="connsiteY1" fmla="*/ 4158 h 1027048"/>
              <a:gd name="connsiteX2" fmla="*/ 2342339 w 2342339"/>
              <a:gd name="connsiteY2" fmla="*/ 1027048 h 1027048"/>
              <a:gd name="connsiteX3" fmla="*/ 0 w 2342339"/>
              <a:gd name="connsiteY3" fmla="*/ 1027048 h 1027048"/>
              <a:gd name="connsiteX4" fmla="*/ 0 w 2342339"/>
              <a:gd name="connsiteY4" fmla="*/ 4158 h 1027048"/>
              <a:gd name="connsiteX5" fmla="*/ 864628 w 2342339"/>
              <a:gd name="connsiteY5" fmla="*/ 97790 h 1027048"/>
              <a:gd name="connsiteX0" fmla="*/ 1249438 w 2342339"/>
              <a:gd name="connsiteY0" fmla="*/ 0 h 1027048"/>
              <a:gd name="connsiteX1" fmla="*/ 2342339 w 2342339"/>
              <a:gd name="connsiteY1" fmla="*/ 4158 h 1027048"/>
              <a:gd name="connsiteX2" fmla="*/ 2342339 w 2342339"/>
              <a:gd name="connsiteY2" fmla="*/ 1027048 h 1027048"/>
              <a:gd name="connsiteX3" fmla="*/ 0 w 2342339"/>
              <a:gd name="connsiteY3" fmla="*/ 1027048 h 1027048"/>
              <a:gd name="connsiteX4" fmla="*/ 0 w 2342339"/>
              <a:gd name="connsiteY4" fmla="*/ 4158 h 1027048"/>
              <a:gd name="connsiteX5" fmla="*/ 858278 w 2342339"/>
              <a:gd name="connsiteY5" fmla="*/ 2540 h 1027048"/>
              <a:gd name="connsiteX0" fmla="*/ 1376438 w 2342339"/>
              <a:gd name="connsiteY0" fmla="*/ 3810 h 1024508"/>
              <a:gd name="connsiteX1" fmla="*/ 2342339 w 2342339"/>
              <a:gd name="connsiteY1" fmla="*/ 1618 h 1024508"/>
              <a:gd name="connsiteX2" fmla="*/ 2342339 w 2342339"/>
              <a:gd name="connsiteY2" fmla="*/ 1024508 h 1024508"/>
              <a:gd name="connsiteX3" fmla="*/ 0 w 2342339"/>
              <a:gd name="connsiteY3" fmla="*/ 1024508 h 1024508"/>
              <a:gd name="connsiteX4" fmla="*/ 0 w 2342339"/>
              <a:gd name="connsiteY4" fmla="*/ 1618 h 1024508"/>
              <a:gd name="connsiteX5" fmla="*/ 858278 w 2342339"/>
              <a:gd name="connsiteY5" fmla="*/ 0 h 1024508"/>
              <a:gd name="connsiteX0" fmla="*/ 1376438 w 2342339"/>
              <a:gd name="connsiteY0" fmla="*/ 3810 h 1024508"/>
              <a:gd name="connsiteX1" fmla="*/ 2342339 w 2342339"/>
              <a:gd name="connsiteY1" fmla="*/ 1618 h 1024508"/>
              <a:gd name="connsiteX2" fmla="*/ 2342339 w 2342339"/>
              <a:gd name="connsiteY2" fmla="*/ 1024508 h 1024508"/>
              <a:gd name="connsiteX3" fmla="*/ 0 w 2342339"/>
              <a:gd name="connsiteY3" fmla="*/ 1024508 h 1024508"/>
              <a:gd name="connsiteX4" fmla="*/ 0 w 2342339"/>
              <a:gd name="connsiteY4" fmla="*/ 1618 h 1024508"/>
              <a:gd name="connsiteX5" fmla="*/ 991628 w 2342339"/>
              <a:gd name="connsiteY5" fmla="*/ 0 h 1024508"/>
              <a:gd name="connsiteX0" fmla="*/ 1376438 w 2342339"/>
              <a:gd name="connsiteY0" fmla="*/ 3810 h 1024508"/>
              <a:gd name="connsiteX1" fmla="*/ 2342339 w 2342339"/>
              <a:gd name="connsiteY1" fmla="*/ 1618 h 1024508"/>
              <a:gd name="connsiteX2" fmla="*/ 2342339 w 2342339"/>
              <a:gd name="connsiteY2" fmla="*/ 1024508 h 1024508"/>
              <a:gd name="connsiteX3" fmla="*/ 0 w 2342339"/>
              <a:gd name="connsiteY3" fmla="*/ 1024508 h 1024508"/>
              <a:gd name="connsiteX4" fmla="*/ 0 w 2342339"/>
              <a:gd name="connsiteY4" fmla="*/ 1618 h 1024508"/>
              <a:gd name="connsiteX5" fmla="*/ 991628 w 2342339"/>
              <a:gd name="connsiteY5" fmla="*/ 0 h 1024508"/>
              <a:gd name="connsiteX0" fmla="*/ 1376438 w 2342339"/>
              <a:gd name="connsiteY0" fmla="*/ 3810 h 1024508"/>
              <a:gd name="connsiteX1" fmla="*/ 2342339 w 2342339"/>
              <a:gd name="connsiteY1" fmla="*/ 1618 h 1024508"/>
              <a:gd name="connsiteX2" fmla="*/ 2342339 w 2342339"/>
              <a:gd name="connsiteY2" fmla="*/ 1024508 h 1024508"/>
              <a:gd name="connsiteX3" fmla="*/ 0 w 2342339"/>
              <a:gd name="connsiteY3" fmla="*/ 1024508 h 1024508"/>
              <a:gd name="connsiteX4" fmla="*/ 0 w 2342339"/>
              <a:gd name="connsiteY4" fmla="*/ 1618 h 1024508"/>
              <a:gd name="connsiteX5" fmla="*/ 1156728 w 2342339"/>
              <a:gd name="connsiteY5" fmla="*/ 0 h 1024508"/>
              <a:gd name="connsiteX0" fmla="*/ 1503438 w 2342339"/>
              <a:gd name="connsiteY0" fmla="*/ 3810 h 1024508"/>
              <a:gd name="connsiteX1" fmla="*/ 2342339 w 2342339"/>
              <a:gd name="connsiteY1" fmla="*/ 1618 h 1024508"/>
              <a:gd name="connsiteX2" fmla="*/ 2342339 w 2342339"/>
              <a:gd name="connsiteY2" fmla="*/ 1024508 h 1024508"/>
              <a:gd name="connsiteX3" fmla="*/ 0 w 2342339"/>
              <a:gd name="connsiteY3" fmla="*/ 1024508 h 1024508"/>
              <a:gd name="connsiteX4" fmla="*/ 0 w 2342339"/>
              <a:gd name="connsiteY4" fmla="*/ 1618 h 1024508"/>
              <a:gd name="connsiteX5" fmla="*/ 1156728 w 2342339"/>
              <a:gd name="connsiteY5" fmla="*/ 0 h 1024508"/>
              <a:gd name="connsiteX0" fmla="*/ 1554238 w 2342339"/>
              <a:gd name="connsiteY0" fmla="*/ 3810 h 1024508"/>
              <a:gd name="connsiteX1" fmla="*/ 2342339 w 2342339"/>
              <a:gd name="connsiteY1" fmla="*/ 1618 h 1024508"/>
              <a:gd name="connsiteX2" fmla="*/ 2342339 w 2342339"/>
              <a:gd name="connsiteY2" fmla="*/ 1024508 h 1024508"/>
              <a:gd name="connsiteX3" fmla="*/ 0 w 2342339"/>
              <a:gd name="connsiteY3" fmla="*/ 1024508 h 1024508"/>
              <a:gd name="connsiteX4" fmla="*/ 0 w 2342339"/>
              <a:gd name="connsiteY4" fmla="*/ 1618 h 1024508"/>
              <a:gd name="connsiteX5" fmla="*/ 1156728 w 2342339"/>
              <a:gd name="connsiteY5" fmla="*/ 0 h 1024508"/>
              <a:gd name="connsiteX0" fmla="*/ 1554238 w 2342339"/>
              <a:gd name="connsiteY0" fmla="*/ 3810 h 1024508"/>
              <a:gd name="connsiteX1" fmla="*/ 1535188 w 2342339"/>
              <a:gd name="connsiteY1" fmla="*/ 3810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156728 w 2342339"/>
              <a:gd name="connsiteY6" fmla="*/ 0 h 1024508"/>
              <a:gd name="connsiteX0" fmla="*/ 1554238 w 2342339"/>
              <a:gd name="connsiteY0" fmla="*/ 3810 h 1024508"/>
              <a:gd name="connsiteX1" fmla="*/ 1446288 w 2342339"/>
              <a:gd name="connsiteY1" fmla="*/ 321310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156728 w 2342339"/>
              <a:gd name="connsiteY6" fmla="*/ 0 h 1024508"/>
              <a:gd name="connsiteX0" fmla="*/ 1338338 w 2342339"/>
              <a:gd name="connsiteY0" fmla="*/ 340360 h 1024508"/>
              <a:gd name="connsiteX1" fmla="*/ 1446288 w 2342339"/>
              <a:gd name="connsiteY1" fmla="*/ 321310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156728 w 2342339"/>
              <a:gd name="connsiteY6" fmla="*/ 0 h 1024508"/>
              <a:gd name="connsiteX0" fmla="*/ 1338338 w 2342339"/>
              <a:gd name="connsiteY0" fmla="*/ 340360 h 1024508"/>
              <a:gd name="connsiteX1" fmla="*/ 1471688 w 2342339"/>
              <a:gd name="connsiteY1" fmla="*/ 10160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156728 w 2342339"/>
              <a:gd name="connsiteY6" fmla="*/ 0 h 1024508"/>
              <a:gd name="connsiteX0" fmla="*/ 1471688 w 2342339"/>
              <a:gd name="connsiteY0" fmla="*/ 276860 h 1024508"/>
              <a:gd name="connsiteX1" fmla="*/ 1471688 w 2342339"/>
              <a:gd name="connsiteY1" fmla="*/ 10160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156728 w 2342339"/>
              <a:gd name="connsiteY6" fmla="*/ 0 h 1024508"/>
              <a:gd name="connsiteX0" fmla="*/ 1471688 w 2342339"/>
              <a:gd name="connsiteY0" fmla="*/ 276860 h 1024508"/>
              <a:gd name="connsiteX1" fmla="*/ 1471688 w 2342339"/>
              <a:gd name="connsiteY1" fmla="*/ 5397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156728 w 2342339"/>
              <a:gd name="connsiteY6" fmla="*/ 0 h 1024508"/>
              <a:gd name="connsiteX0" fmla="*/ 1471688 w 2342339"/>
              <a:gd name="connsiteY0" fmla="*/ 276860 h 1024508"/>
              <a:gd name="connsiteX1" fmla="*/ 1471688 w 2342339"/>
              <a:gd name="connsiteY1" fmla="*/ 634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156728 w 2342339"/>
              <a:gd name="connsiteY6" fmla="*/ 0 h 1024508"/>
              <a:gd name="connsiteX0" fmla="*/ 1471688 w 2342339"/>
              <a:gd name="connsiteY0" fmla="*/ 276860 h 1024508"/>
              <a:gd name="connsiteX1" fmla="*/ 1471688 w 2342339"/>
              <a:gd name="connsiteY1" fmla="*/ 5396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156728 w 2342339"/>
              <a:gd name="connsiteY6" fmla="*/ 0 h 1024508"/>
              <a:gd name="connsiteX0" fmla="*/ 1471688 w 2342339"/>
              <a:gd name="connsiteY0" fmla="*/ 276860 h 1024508"/>
              <a:gd name="connsiteX1" fmla="*/ 1471688 w 2342339"/>
              <a:gd name="connsiteY1" fmla="*/ 3015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156728 w 2342339"/>
              <a:gd name="connsiteY6" fmla="*/ 0 h 1024508"/>
              <a:gd name="connsiteX0" fmla="*/ 1474069 w 2342339"/>
              <a:gd name="connsiteY0" fmla="*/ 183992 h 1024508"/>
              <a:gd name="connsiteX1" fmla="*/ 1471688 w 2342339"/>
              <a:gd name="connsiteY1" fmla="*/ 3015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156728 w 2342339"/>
              <a:gd name="connsiteY6" fmla="*/ 0 h 1024508"/>
              <a:gd name="connsiteX0" fmla="*/ 1474069 w 2342339"/>
              <a:gd name="connsiteY0" fmla="*/ 183992 h 1024508"/>
              <a:gd name="connsiteX1" fmla="*/ 1471688 w 2342339"/>
              <a:gd name="connsiteY1" fmla="*/ 3015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156728 w 2342339"/>
              <a:gd name="connsiteY6" fmla="*/ 0 h 1024508"/>
              <a:gd name="connsiteX7" fmla="*/ 1154982 w 2342339"/>
              <a:gd name="connsiteY7" fmla="*/ 3810 h 1024508"/>
              <a:gd name="connsiteX0" fmla="*/ 1474069 w 2342339"/>
              <a:gd name="connsiteY0" fmla="*/ 183992 h 1024508"/>
              <a:gd name="connsiteX1" fmla="*/ 1471688 w 2342339"/>
              <a:gd name="connsiteY1" fmla="*/ 3015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156728 w 2342339"/>
              <a:gd name="connsiteY6" fmla="*/ 0 h 1024508"/>
              <a:gd name="connsiteX7" fmla="*/ 1216894 w 2342339"/>
              <a:gd name="connsiteY7" fmla="*/ 151447 h 1024508"/>
              <a:gd name="connsiteX0" fmla="*/ 1474069 w 2342339"/>
              <a:gd name="connsiteY0" fmla="*/ 183992 h 1024508"/>
              <a:gd name="connsiteX1" fmla="*/ 1471688 w 2342339"/>
              <a:gd name="connsiteY1" fmla="*/ 3015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156728 w 2342339"/>
              <a:gd name="connsiteY6" fmla="*/ 0 h 1024508"/>
              <a:gd name="connsiteX7" fmla="*/ 1207369 w 2342339"/>
              <a:gd name="connsiteY7" fmla="*/ 256222 h 1024508"/>
              <a:gd name="connsiteX0" fmla="*/ 1474069 w 2342339"/>
              <a:gd name="connsiteY0" fmla="*/ 183992 h 1024508"/>
              <a:gd name="connsiteX1" fmla="*/ 1471688 w 2342339"/>
              <a:gd name="connsiteY1" fmla="*/ 3015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156728 w 2342339"/>
              <a:gd name="connsiteY6" fmla="*/ 0 h 1024508"/>
              <a:gd name="connsiteX7" fmla="*/ 1207369 w 2342339"/>
              <a:gd name="connsiteY7" fmla="*/ 256222 h 1024508"/>
              <a:gd name="connsiteX0" fmla="*/ 1474069 w 2342339"/>
              <a:gd name="connsiteY0" fmla="*/ 183992 h 1024508"/>
              <a:gd name="connsiteX1" fmla="*/ 1471688 w 2342339"/>
              <a:gd name="connsiteY1" fmla="*/ 3015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156728 w 2342339"/>
              <a:gd name="connsiteY6" fmla="*/ 0 h 1024508"/>
              <a:gd name="connsiteX7" fmla="*/ 1159744 w 2342339"/>
              <a:gd name="connsiteY7" fmla="*/ 196691 h 1024508"/>
              <a:gd name="connsiteX0" fmla="*/ 1474069 w 2342339"/>
              <a:gd name="connsiteY0" fmla="*/ 183992 h 1024508"/>
              <a:gd name="connsiteX1" fmla="*/ 1471688 w 2342339"/>
              <a:gd name="connsiteY1" fmla="*/ 3015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156728 w 2342339"/>
              <a:gd name="connsiteY6" fmla="*/ 0 h 1024508"/>
              <a:gd name="connsiteX7" fmla="*/ 1159744 w 2342339"/>
              <a:gd name="connsiteY7" fmla="*/ 177641 h 1024508"/>
              <a:gd name="connsiteX0" fmla="*/ 1474069 w 2342339"/>
              <a:gd name="connsiteY0" fmla="*/ 183992 h 1024508"/>
              <a:gd name="connsiteX1" fmla="*/ 1471688 w 2342339"/>
              <a:gd name="connsiteY1" fmla="*/ 3015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156728 w 2342339"/>
              <a:gd name="connsiteY6" fmla="*/ 0 h 1024508"/>
              <a:gd name="connsiteX7" fmla="*/ 1157363 w 2342339"/>
              <a:gd name="connsiteY7" fmla="*/ 187166 h 1024508"/>
              <a:gd name="connsiteX0" fmla="*/ 1474069 w 2342339"/>
              <a:gd name="connsiteY0" fmla="*/ 183992 h 1024508"/>
              <a:gd name="connsiteX1" fmla="*/ 1471688 w 2342339"/>
              <a:gd name="connsiteY1" fmla="*/ 3015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156728 w 2342339"/>
              <a:gd name="connsiteY6" fmla="*/ 0 h 1024508"/>
              <a:gd name="connsiteX7" fmla="*/ 1157363 w 2342339"/>
              <a:gd name="connsiteY7" fmla="*/ 184785 h 1024508"/>
              <a:gd name="connsiteX0" fmla="*/ 1474069 w 2342339"/>
              <a:gd name="connsiteY0" fmla="*/ 107792 h 1024508"/>
              <a:gd name="connsiteX1" fmla="*/ 1471688 w 2342339"/>
              <a:gd name="connsiteY1" fmla="*/ 3015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156728 w 2342339"/>
              <a:gd name="connsiteY6" fmla="*/ 0 h 1024508"/>
              <a:gd name="connsiteX7" fmla="*/ 1157363 w 2342339"/>
              <a:gd name="connsiteY7" fmla="*/ 184785 h 1024508"/>
              <a:gd name="connsiteX0" fmla="*/ 1474069 w 2342339"/>
              <a:gd name="connsiteY0" fmla="*/ 107792 h 1024508"/>
              <a:gd name="connsiteX1" fmla="*/ 1471688 w 2342339"/>
              <a:gd name="connsiteY1" fmla="*/ 3015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156728 w 2342339"/>
              <a:gd name="connsiteY6" fmla="*/ 0 h 1024508"/>
              <a:gd name="connsiteX7" fmla="*/ 1157363 w 2342339"/>
              <a:gd name="connsiteY7" fmla="*/ 113347 h 1024508"/>
              <a:gd name="connsiteX0" fmla="*/ 1474069 w 2342339"/>
              <a:gd name="connsiteY0" fmla="*/ 107792 h 1024508"/>
              <a:gd name="connsiteX1" fmla="*/ 1471688 w 2342339"/>
              <a:gd name="connsiteY1" fmla="*/ 3015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156728 w 2342339"/>
              <a:gd name="connsiteY6" fmla="*/ 0 h 1024508"/>
              <a:gd name="connsiteX7" fmla="*/ 1157363 w 2342339"/>
              <a:gd name="connsiteY7" fmla="*/ 106204 h 1024508"/>
              <a:gd name="connsiteX0" fmla="*/ 1474069 w 2342339"/>
              <a:gd name="connsiteY0" fmla="*/ 107792 h 1024508"/>
              <a:gd name="connsiteX1" fmla="*/ 1524730 w 2342339"/>
              <a:gd name="connsiteY1" fmla="*/ 634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156728 w 2342339"/>
              <a:gd name="connsiteY6" fmla="*/ 0 h 1024508"/>
              <a:gd name="connsiteX7" fmla="*/ 1157363 w 2342339"/>
              <a:gd name="connsiteY7" fmla="*/ 106204 h 1024508"/>
              <a:gd name="connsiteX0" fmla="*/ 1474069 w 2342339"/>
              <a:gd name="connsiteY0" fmla="*/ 109539 h 1026255"/>
              <a:gd name="connsiteX1" fmla="*/ 1633466 w 2342339"/>
              <a:gd name="connsiteY1" fmla="*/ 0 h 1026255"/>
              <a:gd name="connsiteX2" fmla="*/ 2342339 w 2342339"/>
              <a:gd name="connsiteY2" fmla="*/ 3365 h 1026255"/>
              <a:gd name="connsiteX3" fmla="*/ 2342339 w 2342339"/>
              <a:gd name="connsiteY3" fmla="*/ 1026255 h 1026255"/>
              <a:gd name="connsiteX4" fmla="*/ 0 w 2342339"/>
              <a:gd name="connsiteY4" fmla="*/ 1026255 h 1026255"/>
              <a:gd name="connsiteX5" fmla="*/ 0 w 2342339"/>
              <a:gd name="connsiteY5" fmla="*/ 3365 h 1026255"/>
              <a:gd name="connsiteX6" fmla="*/ 1156728 w 2342339"/>
              <a:gd name="connsiteY6" fmla="*/ 1747 h 1026255"/>
              <a:gd name="connsiteX7" fmla="*/ 1157363 w 2342339"/>
              <a:gd name="connsiteY7" fmla="*/ 107951 h 1026255"/>
              <a:gd name="connsiteX0" fmla="*/ 1635847 w 2342339"/>
              <a:gd name="connsiteY0" fmla="*/ 102395 h 1026255"/>
              <a:gd name="connsiteX1" fmla="*/ 1633466 w 2342339"/>
              <a:gd name="connsiteY1" fmla="*/ 0 h 1026255"/>
              <a:gd name="connsiteX2" fmla="*/ 2342339 w 2342339"/>
              <a:gd name="connsiteY2" fmla="*/ 3365 h 1026255"/>
              <a:gd name="connsiteX3" fmla="*/ 2342339 w 2342339"/>
              <a:gd name="connsiteY3" fmla="*/ 1026255 h 1026255"/>
              <a:gd name="connsiteX4" fmla="*/ 0 w 2342339"/>
              <a:gd name="connsiteY4" fmla="*/ 1026255 h 1026255"/>
              <a:gd name="connsiteX5" fmla="*/ 0 w 2342339"/>
              <a:gd name="connsiteY5" fmla="*/ 3365 h 1026255"/>
              <a:gd name="connsiteX6" fmla="*/ 1156728 w 2342339"/>
              <a:gd name="connsiteY6" fmla="*/ 1747 h 1026255"/>
              <a:gd name="connsiteX7" fmla="*/ 1157363 w 2342339"/>
              <a:gd name="connsiteY7" fmla="*/ 107951 h 1026255"/>
              <a:gd name="connsiteX0" fmla="*/ 1635847 w 2342339"/>
              <a:gd name="connsiteY0" fmla="*/ 100648 h 1024508"/>
              <a:gd name="connsiteX1" fmla="*/ 1633466 w 2342339"/>
              <a:gd name="connsiteY1" fmla="*/ 634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156728 w 2342339"/>
              <a:gd name="connsiteY6" fmla="*/ 0 h 1024508"/>
              <a:gd name="connsiteX7" fmla="*/ 1157363 w 2342339"/>
              <a:gd name="connsiteY7" fmla="*/ 106204 h 1024508"/>
              <a:gd name="connsiteX0" fmla="*/ 1635847 w 2342339"/>
              <a:gd name="connsiteY0" fmla="*/ 100648 h 1024508"/>
              <a:gd name="connsiteX1" fmla="*/ 1633466 w 2342339"/>
              <a:gd name="connsiteY1" fmla="*/ 634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156728 w 2342339"/>
              <a:gd name="connsiteY6" fmla="*/ 0 h 1024508"/>
              <a:gd name="connsiteX7" fmla="*/ 1157363 w 2342339"/>
              <a:gd name="connsiteY7" fmla="*/ 106204 h 1024508"/>
              <a:gd name="connsiteX0" fmla="*/ 1635847 w 2342339"/>
              <a:gd name="connsiteY0" fmla="*/ 100648 h 1024508"/>
              <a:gd name="connsiteX1" fmla="*/ 1633466 w 2342339"/>
              <a:gd name="connsiteY1" fmla="*/ 634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156728 w 2342339"/>
              <a:gd name="connsiteY6" fmla="*/ 0 h 1024508"/>
              <a:gd name="connsiteX7" fmla="*/ 1284665 w 2342339"/>
              <a:gd name="connsiteY7" fmla="*/ 106204 h 1024508"/>
              <a:gd name="connsiteX0" fmla="*/ 1635847 w 2342339"/>
              <a:gd name="connsiteY0" fmla="*/ 100648 h 1024508"/>
              <a:gd name="connsiteX1" fmla="*/ 1633466 w 2342339"/>
              <a:gd name="connsiteY1" fmla="*/ 634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286682 w 2342339"/>
              <a:gd name="connsiteY6" fmla="*/ 0 h 1024508"/>
              <a:gd name="connsiteX7" fmla="*/ 1284665 w 2342339"/>
              <a:gd name="connsiteY7" fmla="*/ 106204 h 1024508"/>
              <a:gd name="connsiteX0" fmla="*/ 1635847 w 2342339"/>
              <a:gd name="connsiteY0" fmla="*/ 100648 h 1024508"/>
              <a:gd name="connsiteX1" fmla="*/ 1633466 w 2342339"/>
              <a:gd name="connsiteY1" fmla="*/ 634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286682 w 2342339"/>
              <a:gd name="connsiteY6" fmla="*/ 0 h 1024508"/>
              <a:gd name="connsiteX7" fmla="*/ 1282013 w 2342339"/>
              <a:gd name="connsiteY7" fmla="*/ 94298 h 1024508"/>
              <a:gd name="connsiteX0" fmla="*/ 1635847 w 2342339"/>
              <a:gd name="connsiteY0" fmla="*/ 100648 h 1024508"/>
              <a:gd name="connsiteX1" fmla="*/ 1633466 w 2342339"/>
              <a:gd name="connsiteY1" fmla="*/ 634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286682 w 2342339"/>
              <a:gd name="connsiteY6" fmla="*/ 0 h 1024508"/>
              <a:gd name="connsiteX7" fmla="*/ 1287317 w 2342339"/>
              <a:gd name="connsiteY7" fmla="*/ 103823 h 1024508"/>
              <a:gd name="connsiteX0" fmla="*/ 1635847 w 2342339"/>
              <a:gd name="connsiteY0" fmla="*/ 100648 h 1024508"/>
              <a:gd name="connsiteX1" fmla="*/ 1633466 w 2342339"/>
              <a:gd name="connsiteY1" fmla="*/ 634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286682 w 2342339"/>
              <a:gd name="connsiteY6" fmla="*/ 0 h 1024508"/>
              <a:gd name="connsiteX7" fmla="*/ 1276709 w 2342339"/>
              <a:gd name="connsiteY7" fmla="*/ 103823 h 1024508"/>
              <a:gd name="connsiteX0" fmla="*/ 1635847 w 2342339"/>
              <a:gd name="connsiteY0" fmla="*/ 100648 h 1024508"/>
              <a:gd name="connsiteX1" fmla="*/ 1633466 w 2342339"/>
              <a:gd name="connsiteY1" fmla="*/ 634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278726 w 2342339"/>
              <a:gd name="connsiteY6" fmla="*/ 0 h 1024508"/>
              <a:gd name="connsiteX7" fmla="*/ 1276709 w 2342339"/>
              <a:gd name="connsiteY7" fmla="*/ 103823 h 1024508"/>
              <a:gd name="connsiteX0" fmla="*/ 1635847 w 2342339"/>
              <a:gd name="connsiteY0" fmla="*/ 100648 h 1024508"/>
              <a:gd name="connsiteX1" fmla="*/ 1633466 w 2342339"/>
              <a:gd name="connsiteY1" fmla="*/ 634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278726 w 2342339"/>
              <a:gd name="connsiteY6" fmla="*/ 0 h 1024508"/>
              <a:gd name="connsiteX7" fmla="*/ 1276709 w 2342339"/>
              <a:gd name="connsiteY7" fmla="*/ 94298 h 1024508"/>
              <a:gd name="connsiteX0" fmla="*/ 1635847 w 2342339"/>
              <a:gd name="connsiteY0" fmla="*/ 100648 h 1024508"/>
              <a:gd name="connsiteX1" fmla="*/ 1633466 w 2342339"/>
              <a:gd name="connsiteY1" fmla="*/ 634 h 1024508"/>
              <a:gd name="connsiteX2" fmla="*/ 2342339 w 2342339"/>
              <a:gd name="connsiteY2" fmla="*/ 1618 h 1024508"/>
              <a:gd name="connsiteX3" fmla="*/ 2342339 w 2342339"/>
              <a:gd name="connsiteY3" fmla="*/ 1024508 h 1024508"/>
              <a:gd name="connsiteX4" fmla="*/ 0 w 2342339"/>
              <a:gd name="connsiteY4" fmla="*/ 1024508 h 1024508"/>
              <a:gd name="connsiteX5" fmla="*/ 0 w 2342339"/>
              <a:gd name="connsiteY5" fmla="*/ 1618 h 1024508"/>
              <a:gd name="connsiteX6" fmla="*/ 1278726 w 2342339"/>
              <a:gd name="connsiteY6" fmla="*/ 0 h 1024508"/>
              <a:gd name="connsiteX7" fmla="*/ 1276709 w 2342339"/>
              <a:gd name="connsiteY7" fmla="*/ 101442 h 10245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342339" h="1024508">
                <a:moveTo>
                  <a:pt x="1635847" y="100648"/>
                </a:moveTo>
                <a:cubicBezTo>
                  <a:pt x="1635053" y="40322"/>
                  <a:pt x="1634260" y="60960"/>
                  <a:pt x="1633466" y="634"/>
                </a:cubicBezTo>
                <a:lnTo>
                  <a:pt x="2342339" y="1618"/>
                </a:lnTo>
                <a:lnTo>
                  <a:pt x="2342339" y="1024508"/>
                </a:lnTo>
                <a:lnTo>
                  <a:pt x="0" y="1024508"/>
                </a:lnTo>
                <a:lnTo>
                  <a:pt x="0" y="1618"/>
                </a:lnTo>
                <a:lnTo>
                  <a:pt x="1278726" y="0"/>
                </a:lnTo>
                <a:cubicBezTo>
                  <a:pt x="1283104" y="100377"/>
                  <a:pt x="1277073" y="100648"/>
                  <a:pt x="1276709" y="101442"/>
                </a:cubicBezTo>
              </a:path>
            </a:pathLst>
          </a:cu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Ins="365760" rtlCol="0" anchor="t"/>
          <a:lstStyle/>
          <a:p>
            <a:r>
              <a:rPr lang="en-US" sz="1100" b="1" dirty="0">
                <a:solidFill>
                  <a:schemeClr val="tx1"/>
                </a:solidFill>
              </a:rPr>
              <a:t>Project / Task Management</a:t>
            </a:r>
          </a:p>
        </p:txBody>
      </p:sp>
      <p:sp>
        <p:nvSpPr>
          <p:cNvPr id="120" name="Rectangle 119"/>
          <p:cNvSpPr/>
          <p:nvPr/>
        </p:nvSpPr>
        <p:spPr>
          <a:xfrm>
            <a:off x="1322393" y="3149433"/>
            <a:ext cx="2103120" cy="543982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Ins="365760" rtlCol="0" anchor="t"/>
          <a:lstStyle/>
          <a:p>
            <a:r>
              <a:rPr lang="en-US" sz="1100" b="1">
                <a:solidFill>
                  <a:schemeClr val="tx1"/>
                </a:solidFill>
              </a:rPr>
              <a:t>Source Code Repository</a:t>
            </a:r>
          </a:p>
        </p:txBody>
      </p:sp>
      <p:sp>
        <p:nvSpPr>
          <p:cNvPr id="121" name="Rectangle 120"/>
          <p:cNvSpPr/>
          <p:nvPr/>
        </p:nvSpPr>
        <p:spPr>
          <a:xfrm>
            <a:off x="1322394" y="1759092"/>
            <a:ext cx="937148" cy="846014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Ins="182880" rtlCol="0" anchor="t"/>
          <a:lstStyle/>
          <a:p>
            <a:r>
              <a:rPr lang="en-US" sz="1100" b="1" dirty="0">
                <a:solidFill>
                  <a:schemeClr val="tx1"/>
                </a:solidFill>
              </a:rPr>
              <a:t>Compile</a:t>
            </a:r>
          </a:p>
        </p:txBody>
      </p:sp>
      <p:sp>
        <p:nvSpPr>
          <p:cNvPr id="122" name="Rectangle 121"/>
          <p:cNvSpPr/>
          <p:nvPr/>
        </p:nvSpPr>
        <p:spPr>
          <a:xfrm>
            <a:off x="4666544" y="1759092"/>
            <a:ext cx="1210842" cy="846014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Ins="182880" rtlCol="0" anchor="t"/>
          <a:lstStyle/>
          <a:p>
            <a:r>
              <a:rPr lang="en-US" sz="1100" b="1">
                <a:solidFill>
                  <a:schemeClr val="tx1"/>
                </a:solidFill>
              </a:rPr>
              <a:t>Packaging</a:t>
            </a:r>
          </a:p>
        </p:txBody>
      </p:sp>
      <p:sp>
        <p:nvSpPr>
          <p:cNvPr id="123" name="Rectangle 122"/>
          <p:cNvSpPr/>
          <p:nvPr/>
        </p:nvSpPr>
        <p:spPr>
          <a:xfrm>
            <a:off x="3772698" y="3149433"/>
            <a:ext cx="2104689" cy="763629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1097280" rtlCol="0" anchor="t"/>
          <a:lstStyle/>
          <a:p>
            <a:r>
              <a:rPr lang="en-US" sz="1100" b="1">
                <a:solidFill>
                  <a:schemeClr val="tx1"/>
                </a:solidFill>
              </a:rPr>
              <a:t>Environment Provisioning</a:t>
            </a:r>
          </a:p>
        </p:txBody>
      </p:sp>
      <p:sp>
        <p:nvSpPr>
          <p:cNvPr id="124" name="Rectangle 123"/>
          <p:cNvSpPr/>
          <p:nvPr/>
        </p:nvSpPr>
        <p:spPr>
          <a:xfrm>
            <a:off x="3772698" y="4039410"/>
            <a:ext cx="2103120" cy="881028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1097280" rtlCol="0" anchor="t"/>
          <a:lstStyle/>
          <a:p>
            <a:r>
              <a:rPr lang="en-US" sz="1100" b="1">
                <a:solidFill>
                  <a:schemeClr val="tx1"/>
                </a:solidFill>
              </a:rPr>
              <a:t>System of Records – Service Virtualization</a:t>
            </a:r>
          </a:p>
        </p:txBody>
      </p:sp>
      <p:sp>
        <p:nvSpPr>
          <p:cNvPr id="125" name="Rectangle 124"/>
          <p:cNvSpPr/>
          <p:nvPr/>
        </p:nvSpPr>
        <p:spPr>
          <a:xfrm>
            <a:off x="3774267" y="5054894"/>
            <a:ext cx="2103120" cy="881028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1097280" rtlCol="0" anchor="t"/>
          <a:lstStyle/>
          <a:p>
            <a:r>
              <a:rPr lang="en-US" sz="1100" b="1">
                <a:solidFill>
                  <a:schemeClr val="bg1"/>
                </a:solidFill>
              </a:rPr>
              <a:t>Acceptance Test</a:t>
            </a:r>
          </a:p>
        </p:txBody>
      </p:sp>
      <p:sp>
        <p:nvSpPr>
          <p:cNvPr id="126" name="Rectangle 125"/>
          <p:cNvSpPr/>
          <p:nvPr/>
        </p:nvSpPr>
        <p:spPr>
          <a:xfrm>
            <a:off x="6240633" y="1690706"/>
            <a:ext cx="2103120" cy="9144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1097280" rtlCol="0" anchor="t"/>
          <a:lstStyle/>
          <a:p>
            <a:r>
              <a:rPr lang="en-US" sz="1100" b="1">
                <a:solidFill>
                  <a:schemeClr val="tx1"/>
                </a:solidFill>
              </a:rPr>
              <a:t>Deployable Software</a:t>
            </a:r>
          </a:p>
        </p:txBody>
      </p:sp>
      <p:sp>
        <p:nvSpPr>
          <p:cNvPr id="127" name="Rectangle 126"/>
          <p:cNvSpPr/>
          <p:nvPr/>
        </p:nvSpPr>
        <p:spPr>
          <a:xfrm>
            <a:off x="6240633" y="2782512"/>
            <a:ext cx="2103120" cy="9144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1188720" rtlCol="0" anchor="t"/>
          <a:lstStyle/>
          <a:p>
            <a:r>
              <a:rPr lang="en-US" sz="1100" b="1">
                <a:solidFill>
                  <a:schemeClr val="tx1"/>
                </a:solidFill>
              </a:rPr>
              <a:t>Load Testing</a:t>
            </a:r>
          </a:p>
        </p:txBody>
      </p:sp>
      <p:sp>
        <p:nvSpPr>
          <p:cNvPr id="128" name="Rectangle 127"/>
          <p:cNvSpPr/>
          <p:nvPr/>
        </p:nvSpPr>
        <p:spPr>
          <a:xfrm>
            <a:off x="6240633" y="3874318"/>
            <a:ext cx="2103120" cy="9144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1188720" rtlCol="0" anchor="t"/>
          <a:lstStyle/>
          <a:p>
            <a:r>
              <a:rPr lang="en-US" sz="1100" b="1" err="1">
                <a:solidFill>
                  <a:schemeClr val="tx1"/>
                </a:solidFill>
              </a:rPr>
              <a:t>Perf</a:t>
            </a:r>
            <a:r>
              <a:rPr lang="en-US" sz="1100" b="1">
                <a:solidFill>
                  <a:schemeClr val="tx1"/>
                </a:solidFill>
              </a:rPr>
              <a:t> Testing</a:t>
            </a:r>
          </a:p>
        </p:txBody>
      </p:sp>
      <p:sp>
        <p:nvSpPr>
          <p:cNvPr id="129" name="Rectangle 128"/>
          <p:cNvSpPr/>
          <p:nvPr/>
        </p:nvSpPr>
        <p:spPr>
          <a:xfrm>
            <a:off x="6240633" y="4966125"/>
            <a:ext cx="2103120" cy="9144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1188720" rtlCol="0" anchor="t"/>
          <a:lstStyle/>
          <a:p>
            <a:r>
              <a:rPr lang="en-US" sz="1100" b="1">
                <a:solidFill>
                  <a:schemeClr val="tx1"/>
                </a:solidFill>
              </a:rPr>
              <a:t>Ready to release Software</a:t>
            </a:r>
          </a:p>
        </p:txBody>
      </p:sp>
      <p:pic>
        <p:nvPicPr>
          <p:cNvPr id="94" name="Picture 3" descr="D:\Users\mudjain\Desktop\Pics\download (11).jpg"/>
          <p:cNvPicPr>
            <a:picLocks noChangeAspect="1" noChangeArrowheads="1"/>
          </p:cNvPicPr>
          <p:nvPr/>
        </p:nvPicPr>
        <p:blipFill>
          <a:blip r:embed="rId24" cstate="print">
            <a:clrChange>
              <a:clrFrom>
                <a:srgbClr val="FFFEFF"/>
              </a:clrFrom>
              <a:clrTo>
                <a:srgbClr val="FFFE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493253" y="3257617"/>
            <a:ext cx="794331" cy="330971"/>
          </a:xfrm>
          <a:prstGeom prst="rect">
            <a:avLst/>
          </a:prstGeom>
          <a:noFill/>
        </p:spPr>
      </p:pic>
      <p:pic>
        <p:nvPicPr>
          <p:cNvPr id="96" name="Picture 3" descr="D:\Users\jsodani\Desktop\tool logos\230px-Jenkins_logo_with_title_svg.png"/>
          <p:cNvPicPr>
            <a:picLocks noChangeAspect="1" noChangeArrowheads="1"/>
          </p:cNvPicPr>
          <p:nvPr/>
        </p:nvPicPr>
        <p:blipFill>
          <a:blip r:embed="rId25" cstate="print"/>
          <a:srcRect/>
          <a:stretch>
            <a:fillRect/>
          </a:stretch>
        </p:blipFill>
        <p:spPr bwMode="auto">
          <a:xfrm>
            <a:off x="1526686" y="2642245"/>
            <a:ext cx="1187224" cy="408127"/>
          </a:xfrm>
          <a:prstGeom prst="rect">
            <a:avLst/>
          </a:prstGeom>
          <a:noFill/>
          <a:ln>
            <a:noFill/>
          </a:ln>
        </p:spPr>
      </p:pic>
      <p:pic>
        <p:nvPicPr>
          <p:cNvPr id="97" name="Picture 3" descr="D:\Users\mudjain\Desktop\images.png"/>
          <p:cNvPicPr>
            <a:picLocks noChangeAspect="1" noChangeArrowheads="1"/>
          </p:cNvPicPr>
          <p:nvPr/>
        </p:nvPicPr>
        <p:blipFill>
          <a:blip r:embed="rId26" cstate="print"/>
          <a:srcRect t="30929" b="32869"/>
          <a:stretch>
            <a:fillRect/>
          </a:stretch>
        </p:blipFill>
        <p:spPr bwMode="auto">
          <a:xfrm>
            <a:off x="4862652" y="4217053"/>
            <a:ext cx="823618" cy="298167"/>
          </a:xfrm>
          <a:prstGeom prst="rect">
            <a:avLst/>
          </a:prstGeom>
          <a:noFill/>
        </p:spPr>
      </p:pic>
      <p:pic>
        <p:nvPicPr>
          <p:cNvPr id="98" name="Picture 7" descr="D:\Users\jsodani\Desktop\tool logos\sonar.png"/>
          <p:cNvPicPr>
            <a:picLocks noChangeAspect="1" noChangeArrowheads="1"/>
          </p:cNvPicPr>
          <p:nvPr/>
        </p:nvPicPr>
        <p:blipFill>
          <a:blip r:embed="rId27" cstate="print"/>
          <a:srcRect/>
          <a:stretch>
            <a:fillRect/>
          </a:stretch>
        </p:blipFill>
        <p:spPr bwMode="auto">
          <a:xfrm>
            <a:off x="3595700" y="2111056"/>
            <a:ext cx="852740" cy="298045"/>
          </a:xfrm>
          <a:prstGeom prst="rect">
            <a:avLst/>
          </a:prstGeom>
          <a:noFill/>
        </p:spPr>
      </p:pic>
      <p:sp>
        <p:nvSpPr>
          <p:cNvPr id="95" name="Rounded Rectangle 94"/>
          <p:cNvSpPr/>
          <p:nvPr/>
        </p:nvSpPr>
        <p:spPr>
          <a:xfrm>
            <a:off x="1435809" y="4369067"/>
            <a:ext cx="1841405" cy="348829"/>
          </a:xfrm>
          <a:prstGeom prst="roundRect">
            <a:avLst/>
          </a:prstGeom>
          <a:solidFill>
            <a:schemeClr val="bg1"/>
          </a:solidFill>
          <a:ln w="9525">
            <a:solidFill>
              <a:srgbClr val="CC99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tx1"/>
                </a:solidFill>
              </a:rPr>
              <a:t>IDE’s – Eclipse, </a:t>
            </a:r>
            <a:r>
              <a:rPr lang="en-US" sz="1400" b="1" err="1">
                <a:solidFill>
                  <a:schemeClr val="tx1"/>
                </a:solidFill>
              </a:rPr>
              <a:t>etc</a:t>
            </a:r>
            <a:endParaRPr lang="en-US" sz="1400" b="1">
              <a:solidFill>
                <a:schemeClr val="tx1"/>
              </a:solidFill>
            </a:endParaRPr>
          </a:p>
        </p:txBody>
      </p:sp>
      <p:pic>
        <p:nvPicPr>
          <p:cNvPr id="100" name="Picture 2" descr="D:\Users\mudjain\Desktop\Pics\download (3).png"/>
          <p:cNvPicPr>
            <a:picLocks noChangeAspect="1" noChangeArrowheads="1"/>
          </p:cNvPicPr>
          <p:nvPr/>
        </p:nvPicPr>
        <p:blipFill>
          <a:blip r:embed="rId28" cstate="print"/>
          <a:srcRect/>
          <a:stretch>
            <a:fillRect/>
          </a:stretch>
        </p:blipFill>
        <p:spPr bwMode="auto">
          <a:xfrm>
            <a:off x="4795964" y="2146021"/>
            <a:ext cx="1035054" cy="205776"/>
          </a:xfrm>
          <a:prstGeom prst="rect">
            <a:avLst/>
          </a:prstGeom>
          <a:noFill/>
        </p:spPr>
      </p:pic>
      <p:pic>
        <p:nvPicPr>
          <p:cNvPr id="130" name="Picture 1" descr="D:\Users\jsodani\Desktop\tool logos\JUnit.bmp"/>
          <p:cNvPicPr>
            <a:picLocks noChangeAspect="1" noChangeArrowheads="1"/>
          </p:cNvPicPr>
          <p:nvPr/>
        </p:nvPicPr>
        <p:blipFill>
          <a:blip r:embed="rId29" cstate="print"/>
          <a:srcRect/>
          <a:stretch>
            <a:fillRect/>
          </a:stretch>
        </p:blipFill>
        <p:spPr bwMode="auto">
          <a:xfrm>
            <a:off x="2758979" y="2374797"/>
            <a:ext cx="528605" cy="243355"/>
          </a:xfrm>
          <a:prstGeom prst="rect">
            <a:avLst/>
          </a:prstGeom>
          <a:noFill/>
        </p:spPr>
      </p:pic>
      <p:pic>
        <p:nvPicPr>
          <p:cNvPr id="131" name="Picture 2" descr="D:\Users\mudjain\Desktop\images (2).jpg"/>
          <p:cNvPicPr>
            <a:picLocks noChangeAspect="1" noChangeArrowheads="1"/>
          </p:cNvPicPr>
          <p:nvPr/>
        </p:nvPicPr>
        <p:blipFill>
          <a:blip r:embed="rId3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17059"/>
          <a:stretch>
            <a:fillRect/>
          </a:stretch>
        </p:blipFill>
        <p:spPr bwMode="auto">
          <a:xfrm>
            <a:off x="2306559" y="2260077"/>
            <a:ext cx="490947" cy="414512"/>
          </a:xfrm>
          <a:prstGeom prst="rect">
            <a:avLst/>
          </a:prstGeom>
          <a:noFill/>
        </p:spPr>
      </p:pic>
      <p:pic>
        <p:nvPicPr>
          <p:cNvPr id="132" name="Picture 7" descr="D:\Users\jsodani\Desktop\tool logos\maven.gif"/>
          <p:cNvPicPr>
            <a:picLocks noChangeAspect="1" noChangeArrowheads="1"/>
          </p:cNvPicPr>
          <p:nvPr/>
        </p:nvPicPr>
        <p:blipFill>
          <a:blip r:embed="rId3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278084" y="2150043"/>
            <a:ext cx="929056" cy="414074"/>
          </a:xfrm>
          <a:prstGeom prst="rect">
            <a:avLst/>
          </a:prstGeom>
          <a:noFill/>
        </p:spPr>
      </p:pic>
      <p:pic>
        <p:nvPicPr>
          <p:cNvPr id="133" name="Picture 2" descr="D:\Users\mudjain\Desktop\images (9).jpg"/>
          <p:cNvPicPr>
            <a:picLocks noChangeAspect="1" noChangeArrowheads="1"/>
          </p:cNvPicPr>
          <p:nvPr/>
        </p:nvPicPr>
        <p:blipFill>
          <a:blip r:embed="rId32" cstate="print"/>
          <a:srcRect l="26880" r="22840"/>
          <a:stretch>
            <a:fillRect/>
          </a:stretch>
        </p:blipFill>
        <p:spPr bwMode="auto">
          <a:xfrm>
            <a:off x="6957898" y="3959237"/>
            <a:ext cx="497638" cy="351290"/>
          </a:xfrm>
          <a:prstGeom prst="rect">
            <a:avLst/>
          </a:prstGeom>
          <a:noFill/>
        </p:spPr>
      </p:pic>
      <p:pic>
        <p:nvPicPr>
          <p:cNvPr id="134" name="Picture 3" descr="D:\Users\mudjain\Desktop\logo.jpg"/>
          <p:cNvPicPr>
            <a:picLocks noChangeAspect="1" noChangeArrowheads="1"/>
          </p:cNvPicPr>
          <p:nvPr/>
        </p:nvPicPr>
        <p:blipFill>
          <a:blip r:embed="rId33" cstate="print"/>
          <a:srcRect/>
          <a:stretch>
            <a:fillRect/>
          </a:stretch>
        </p:blipFill>
        <p:spPr bwMode="auto">
          <a:xfrm>
            <a:off x="7431838" y="4332277"/>
            <a:ext cx="797528" cy="385618"/>
          </a:xfrm>
          <a:prstGeom prst="rect">
            <a:avLst/>
          </a:prstGeom>
          <a:noFill/>
        </p:spPr>
      </p:pic>
      <p:pic>
        <p:nvPicPr>
          <p:cNvPr id="136" name="Picture 3" descr="D:\Users\mudjain\Desktop\download (6).jpg"/>
          <p:cNvPicPr>
            <a:picLocks noChangeAspect="1" noChangeArrowheads="1"/>
          </p:cNvPicPr>
          <p:nvPr/>
        </p:nvPicPr>
        <p:blipFill>
          <a:blip r:embed="rId34" cstate="print"/>
          <a:srcRect/>
          <a:stretch>
            <a:fillRect/>
          </a:stretch>
        </p:blipFill>
        <p:spPr bwMode="auto">
          <a:xfrm>
            <a:off x="8838184" y="2001468"/>
            <a:ext cx="664857" cy="664857"/>
          </a:xfrm>
          <a:prstGeom prst="rect">
            <a:avLst/>
          </a:prstGeom>
          <a:noFill/>
        </p:spPr>
      </p:pic>
      <p:pic>
        <p:nvPicPr>
          <p:cNvPr id="139" name="Picture 15" descr="D:\Users\mudjain\Desktop\Pics\download (5).jpg"/>
          <p:cNvPicPr>
            <a:picLocks noChangeAspect="1" noChangeArrowheads="1"/>
          </p:cNvPicPr>
          <p:nvPr/>
        </p:nvPicPr>
        <p:blipFill>
          <a:blip r:embed="rId3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23871"/>
          <a:stretch>
            <a:fillRect/>
          </a:stretch>
        </p:blipFill>
        <p:spPr bwMode="auto">
          <a:xfrm>
            <a:off x="4835363" y="3599536"/>
            <a:ext cx="890329" cy="315205"/>
          </a:xfrm>
          <a:prstGeom prst="rect">
            <a:avLst/>
          </a:prstGeom>
          <a:noFill/>
        </p:spPr>
      </p:pic>
      <p:pic>
        <p:nvPicPr>
          <p:cNvPr id="142" name="Picture 2" descr="D:\Users\mudjain\Desktop\images (9).jpg"/>
          <p:cNvPicPr>
            <a:picLocks noChangeAspect="1" noChangeArrowheads="1"/>
          </p:cNvPicPr>
          <p:nvPr/>
        </p:nvPicPr>
        <p:blipFill>
          <a:blip r:embed="rId32" cstate="print"/>
          <a:srcRect l="26880" r="22840"/>
          <a:stretch>
            <a:fillRect/>
          </a:stretch>
        </p:blipFill>
        <p:spPr bwMode="auto">
          <a:xfrm>
            <a:off x="7141705" y="3071812"/>
            <a:ext cx="497638" cy="351290"/>
          </a:xfrm>
          <a:prstGeom prst="rect">
            <a:avLst/>
          </a:prstGeom>
          <a:noFill/>
        </p:spPr>
      </p:pic>
      <p:pic>
        <p:nvPicPr>
          <p:cNvPr id="143" name="Picture 2" descr="D:\Users\mudjain\Desktop\images (2).jpg"/>
          <p:cNvPicPr>
            <a:picLocks noChangeAspect="1" noChangeArrowheads="1"/>
          </p:cNvPicPr>
          <p:nvPr/>
        </p:nvPicPr>
        <p:blipFill>
          <a:blip r:embed="rId3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17059"/>
          <a:stretch>
            <a:fillRect/>
          </a:stretch>
        </p:blipFill>
        <p:spPr bwMode="auto">
          <a:xfrm>
            <a:off x="4825681" y="5065566"/>
            <a:ext cx="581487" cy="490956"/>
          </a:xfrm>
          <a:prstGeom prst="rect">
            <a:avLst/>
          </a:prstGeom>
          <a:noFill/>
        </p:spPr>
      </p:pic>
      <p:pic>
        <p:nvPicPr>
          <p:cNvPr id="141314" name="Picture 2" descr="D:\Users\mudjain\Desktop\jira_logo_landing.png"/>
          <p:cNvPicPr>
            <a:picLocks noChangeAspect="1" noChangeArrowheads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7794" y="5398058"/>
            <a:ext cx="847097" cy="4044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5" name="Picture 8" descr="http://cdn1.techtalkshub.com/wp-content/uploads/2014/04/logstash-logo-big.png"/>
          <p:cNvPicPr>
            <a:picLocks noChangeAspect="1" noChangeArrowheads="1"/>
          </p:cNvPicPr>
          <p:nvPr/>
        </p:nvPicPr>
        <p:blipFill rotWithShape="1">
          <a:blip r:embed="rId3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16905" r="20828" b="22587"/>
          <a:stretch/>
        </p:blipFill>
        <p:spPr bwMode="auto">
          <a:xfrm>
            <a:off x="1230149" y="980161"/>
            <a:ext cx="1463925" cy="497546"/>
          </a:xfrm>
          <a:prstGeom prst="rect">
            <a:avLst/>
          </a:prstGeom>
          <a:noFill/>
        </p:spPr>
      </p:pic>
      <p:pic>
        <p:nvPicPr>
          <p:cNvPr id="146" name="Picture 10" descr="http://www.peakhosting.com/wp-content/uploads/2014/08/splunk-logo.png"/>
          <p:cNvPicPr>
            <a:picLocks noChangeAspect="1" noChangeArrowheads="1"/>
          </p:cNvPicPr>
          <p:nvPr/>
        </p:nvPicPr>
        <p:blipFill>
          <a:blip r:embed="rId3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24132" b="31800"/>
          <a:stretch>
            <a:fillRect/>
          </a:stretch>
        </p:blipFill>
        <p:spPr bwMode="auto">
          <a:xfrm>
            <a:off x="3574236" y="1059825"/>
            <a:ext cx="1367971" cy="338218"/>
          </a:xfrm>
          <a:prstGeom prst="rect">
            <a:avLst/>
          </a:prstGeom>
          <a:noFill/>
        </p:spPr>
      </p:pic>
      <p:pic>
        <p:nvPicPr>
          <p:cNvPr id="144" name="Picture 13" descr="D:\Users\mudjain\Desktop\Pics\maxresdefault.jpg"/>
          <p:cNvPicPr>
            <a:picLocks noChangeAspect="1" noChangeArrowheads="1"/>
          </p:cNvPicPr>
          <p:nvPr/>
        </p:nvPicPr>
        <p:blipFill>
          <a:blip r:embed="rId39" cstate="print"/>
          <a:srcRect l="19376" t="9951" r="21205" b="8145"/>
          <a:stretch>
            <a:fillRect/>
          </a:stretch>
        </p:blipFill>
        <p:spPr bwMode="auto">
          <a:xfrm>
            <a:off x="5280527" y="3231320"/>
            <a:ext cx="405744" cy="314599"/>
          </a:xfrm>
          <a:prstGeom prst="rect">
            <a:avLst/>
          </a:prstGeom>
          <a:noFill/>
        </p:spPr>
      </p:pic>
      <p:pic>
        <p:nvPicPr>
          <p:cNvPr id="147" name="Picture 12" descr="http://cdn-www.xda-developers.com/wp-content/uploads/2014/09/new-relic3.jpg"/>
          <p:cNvPicPr>
            <a:picLocks noChangeAspect="1" noChangeArrowheads="1"/>
          </p:cNvPicPr>
          <p:nvPr/>
        </p:nvPicPr>
        <p:blipFill>
          <a:blip r:embed="rId4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840055" y="957094"/>
            <a:ext cx="543680" cy="543680"/>
          </a:xfrm>
          <a:prstGeom prst="rect">
            <a:avLst/>
          </a:prstGeom>
          <a:noFill/>
        </p:spPr>
      </p:pic>
      <p:pic>
        <p:nvPicPr>
          <p:cNvPr id="135" name="Picture 2" descr="D:\Users\mudjain\Desktop\download (7).jpg"/>
          <p:cNvPicPr>
            <a:picLocks noChangeAspect="1" noChangeArrowheads="1"/>
          </p:cNvPicPr>
          <p:nvPr/>
        </p:nvPicPr>
        <p:blipFill>
          <a:blip r:embed="rId41" cstate="print"/>
          <a:srcRect l="12092" r="13777"/>
          <a:stretch>
            <a:fillRect/>
          </a:stretch>
        </p:blipFill>
        <p:spPr bwMode="auto">
          <a:xfrm>
            <a:off x="9557683" y="2803562"/>
            <a:ext cx="699300" cy="706584"/>
          </a:xfrm>
          <a:prstGeom prst="rect">
            <a:avLst/>
          </a:prstGeom>
          <a:noFill/>
        </p:spPr>
      </p:pic>
      <p:pic>
        <p:nvPicPr>
          <p:cNvPr id="151554" name="Picture 2" descr="D:\Users\mudjain\Desktop\uftlogoW-220x156.png"/>
          <p:cNvPicPr>
            <a:picLocks noChangeAspect="1" noChangeArrowheads="1"/>
          </p:cNvPicPr>
          <p:nvPr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4947" y="5510627"/>
            <a:ext cx="587041" cy="4158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1557" name="Picture 5" descr="D:\Users\mudjain\Desktop\image[13].png"/>
          <p:cNvPicPr>
            <a:picLocks noChangeAspect="1" noChangeArrowheads="1"/>
          </p:cNvPicPr>
          <p:nvPr/>
        </p:nvPicPr>
        <p:blipFill>
          <a:blip r:embed="rId4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1358" y="1999254"/>
            <a:ext cx="1043844" cy="3238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0" name="Picture 5" descr="D:\Users\mudjain\Desktop\image[13].png"/>
          <p:cNvPicPr>
            <a:picLocks noChangeAspect="1" noChangeArrowheads="1"/>
          </p:cNvPicPr>
          <p:nvPr/>
        </p:nvPicPr>
        <p:blipFill>
          <a:blip r:embed="rId4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34636" y="5556523"/>
            <a:ext cx="1043844" cy="3238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A4B4F33D-C4C4-116F-19F1-9BB8FF1DA3B2}"/>
              </a:ext>
            </a:extLst>
          </p:cNvPr>
          <p:cNvSpPr/>
          <p:nvPr/>
        </p:nvSpPr>
        <p:spPr>
          <a:xfrm>
            <a:off x="6766789" y="244238"/>
            <a:ext cx="4354057" cy="33213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/>
              <a:t>Create additional slides with Container Flavor (With AWS/Open Shift)</a:t>
            </a:r>
          </a:p>
        </p:txBody>
      </p:sp>
    </p:spTree>
    <p:extLst>
      <p:ext uri="{BB962C8B-B14F-4D97-AF65-F5344CB8AC3E}">
        <p14:creationId xmlns:p14="http://schemas.microsoft.com/office/powerpoint/2010/main" val="9518273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5641E-7 1.85185E-6 L 0.00016 -0.11991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995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.00016 -0.02129 " pathEditMode="relative" ptsTypes="AA">
                                      <p:cBhvr>
                                        <p:cTn id="8" dur="2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9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.00016 -0.02129 " pathEditMode="relative" ptsTypes="AA">
                                      <p:cBhvr>
                                        <p:cTn id="10" dur="2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1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.00016 -0.02129 " pathEditMode="relative" ptsTypes="AA">
                                      <p:cBhvr>
                                        <p:cTn id="12" dur="2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3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.00016 -0.02129 " pathEditMode="relative" ptsTypes="AA">
                                      <p:cBhvr>
                                        <p:cTn id="14" dur="2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5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.00016 -0.02129 " pathEditMode="relative" ptsTypes="AA">
                                      <p:cBhvr>
                                        <p:cTn id="16" dur="2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7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.00016 -0.02129 " pathEditMode="relative" ptsTypes="AA">
                                      <p:cBhvr>
                                        <p:cTn id="18" dur="2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000"/>
                            </p:stCondLst>
                            <p:childTnLst>
                              <p:par>
                                <p:cTn id="20" presetID="53" presetClass="exit" presetSubtype="3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21" dur="500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2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500"/>
                            </p:stCondLst>
                            <p:childTnLst>
                              <p:par>
                                <p:cTn id="26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" presetID="16" presetClass="emph" presetSubtype="0" repeatCount="2000" fill="remove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4000"/>
                                  </p:iterate>
                                  <p:childTnLst>
                                    <p:set>
                                      <p:cBhvr override="childStyle">
                                        <p:cTn id="29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p:clrVal>
                                          <a:srgbClr val="FF9900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30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p:clrVal>
                                          <a:srgbClr val="FF9900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31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8" presetClass="emph" presetSubtype="0" repeatCount="2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33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4500"/>
                            </p:stCondLst>
                            <p:childTnLst>
                              <p:par>
                                <p:cTn id="35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6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5000"/>
                            </p:stCondLst>
                            <p:childTnLst>
                              <p:par>
                                <p:cTn id="4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5641E-7 -1.85185E-6 L -0.00048 -0.13148 " pathEditMode="relative" rAng="0" ptsTypes="AA">
                                      <p:cBhvr>
                                        <p:cTn id="46" dur="2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2" y="-657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7000"/>
                            </p:stCondLst>
                            <p:childTnLst>
                              <p:par>
                                <p:cTn id="4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6" presetClass="emph" presetSubtype="0" repeatCount="2000" fill="remove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4000"/>
                                  </p:iterate>
                                  <p:childTnLst>
                                    <p:set>
                                      <p:cBhvr override="childStyle">
                                        <p:cTn id="52" dur="10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53" dur="10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54" dur="10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8" presetClass="emph" presetSubtype="0" repeatCount="2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56" dur="10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10520"/>
                            </p:stCondLst>
                            <p:childTnLst>
                              <p:par>
                                <p:cTn id="58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9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1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11520"/>
                            </p:stCondLst>
                            <p:childTnLst>
                              <p:par>
                                <p:cTn id="65" presetID="0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048 -0.13133 L -0.00048 -0.21318 L -0.08999 -0.21318 L -0.08935 -0.29364 " pathEditMode="relative" rAng="0" ptsTypes="AAAA">
                                      <p:cBhvr>
                                        <p:cTn id="66" dur="2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4484" y="-8116"/>
                                    </p:animMotion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7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71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rgbClr val="00B0F0"/>
                                      </p:to>
                                    </p:animClr>
                                    <p:set>
                                      <p:cBhvr>
                                        <p:cTn id="72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13520"/>
                            </p:stCondLst>
                            <p:childTnLst>
                              <p:par>
                                <p:cTn id="74" presetID="19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6" dur="10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10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8" fill="hold">
                            <p:stCondLst>
                              <p:cond delay="14520"/>
                            </p:stCondLst>
                            <p:childTnLst>
                              <p:par>
                                <p:cTn id="79" presetID="0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8942 -0.29398 L 0.03654 -0.29375 " pathEditMode="relative" rAng="0" ptsTypes="AA">
                                      <p:cBhvr>
                                        <p:cTn id="80" dur="2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298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1" fill="hold">
                            <p:stCondLst>
                              <p:cond delay="16520"/>
                            </p:stCondLst>
                            <p:childTnLst>
                              <p:par>
                                <p:cTn id="82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>
                            <p:stCondLst>
                              <p:cond delay="16520"/>
                            </p:stCondLst>
                            <p:childTnLst>
                              <p:par>
                                <p:cTn id="85" presetID="8" presetClass="emph" presetSubtype="0" repeatCount="2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86" dur="10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87" presetID="53" presetClass="entr" presetSubtype="16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9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0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2" fill="hold">
                            <p:stCondLst>
                              <p:cond delay="18520"/>
                            </p:stCondLst>
                            <p:childTnLst>
                              <p:par>
                                <p:cTn id="93" presetID="0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032 0.00208 L 0.00032 0.05903 L 0.10801 0.05903 L 0.10609 0.49236 L 0.00801 0.49097 " pathEditMode="relative" rAng="0" ptsTypes="AAAAA">
                                      <p:cBhvr>
                                        <p:cTn id="94" dur="2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385" y="24514"/>
                                    </p:animMotion>
                                  </p:childTnLst>
                                </p:cTn>
                              </p:par>
                              <p:par>
                                <p:cTn id="95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3654 -0.29375 L 0.13654 -0.29351 " pathEditMode="relative" ptsTypes="AA">
                                      <p:cBhvr>
                                        <p:cTn id="96" dur="2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7" fill="hold">
                            <p:stCondLst>
                              <p:cond delay="20520"/>
                            </p:stCondLst>
                            <p:childTnLst>
                              <p:par>
                                <p:cTn id="9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0" presetID="1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096 -0.00116 C 0.00945 -0.00116 0.01682 0.00648 0.01682 0.01667 C 0.01682 0.02639 0.00945 0.03449 0.00096 0.03449 C -0.00802 0.03449 -0.01491 0.02639 -0.01491 0.01667 C -0.01491 0.00648 -0.00802 -0.00116 0.00096 -0.00116 Z " pathEditMode="relative" rAng="0" ptsTypes="fffff">
                                      <p:cBhvr>
                                        <p:cTn id="101" dur="20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8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2" fill="hold">
                            <p:stCondLst>
                              <p:cond delay="22520"/>
                            </p:stCondLst>
                            <p:childTnLst>
                              <p:par>
                                <p:cTn id="103" presetID="3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04" dur="1000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5" dur="1000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6" dur="1000"/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07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9" fill="hold">
                            <p:stCondLst>
                              <p:cond delay="23520"/>
                            </p:stCondLst>
                            <p:childTnLst>
                              <p:par>
                                <p:cTn id="110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2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3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4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5" fill="hold">
                            <p:stCondLst>
                              <p:cond delay="24020"/>
                            </p:stCondLst>
                            <p:childTnLst>
                              <p:par>
                                <p:cTn id="116" presetID="0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08 4.07407E-6 L 0.08862 -0.00232 " pathEditMode="relative" rAng="0" ptsTypes="AA">
                                      <p:cBhvr>
                                        <p:cTn id="117" dur="2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4471" y="-11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8" fill="hold">
                            <p:stCondLst>
                              <p:cond delay="26020"/>
                            </p:stCondLst>
                            <p:childTnLst>
                              <p:par>
                                <p:cTn id="119" presetID="8" presetClass="emph" presetSubtype="0" repeatCount="3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20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21" presetID="16" presetClass="emph" presetSubtype="0" repeatCount="2000" fill="remove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4000"/>
                                  </p:iterate>
                                  <p:childTnLst>
                                    <p:set>
                                      <p:cBhvr override="childStyle">
                                        <p:cTn id="122" dur="1000" fill="hold"/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123" dur="1000" fill="hold"/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124" dur="1000" fill="hold"/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6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8" presetID="53" presetClass="entr" presetSubtype="16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0" dur="2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1" dur="2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2" dur="20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3" presetID="10" presetClass="exit" presetSubtype="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4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6" presetID="7" presetClass="emph" presetSubtype="2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Clr clrSpc="rgb" dir="cw">
                                      <p:cBhvr>
                                        <p:cTn id="137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chemeClr val="tx2"/>
                                      </p:to>
                                    </p:animClr>
                                    <p:set>
                                      <p:cBhvr>
                                        <p:cTn id="138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1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2" presetID="7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43" dur="2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rgbClr val="00B0F0"/>
                                      </p:to>
                                    </p:animClr>
                                    <p:set>
                                      <p:cBhvr>
                                        <p:cTn id="144" dur="2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5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096 -0.0007 L -0.04135 0.18981 " pathEditMode="relative" rAng="0" ptsTypes="AA">
                                      <p:cBhvr>
                                        <p:cTn id="146" dur="2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115" y="951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7" fill="hold">
                            <p:stCondLst>
                              <p:cond delay="29020"/>
                            </p:stCondLst>
                            <p:childTnLst>
                              <p:par>
                                <p:cTn id="148" presetID="16" presetClass="emph" presetSubtype="0" repeatCount="2000" fill="remove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4000"/>
                                  </p:iterate>
                                  <p:childTnLst>
                                    <p:set>
                                      <p:cBhvr override="childStyle">
                                        <p:cTn id="149" dur="10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150" dur="10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151" dur="10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2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4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5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6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7" presetID="53" presetClass="entr" presetSubtype="16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9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0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1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2" fill="hold">
                            <p:stCondLst>
                              <p:cond delay="32780"/>
                            </p:stCondLst>
                            <p:childTnLst>
                              <p:par>
                                <p:cTn id="163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7" fill="hold">
                            <p:stCondLst>
                              <p:cond delay="32780"/>
                            </p:stCondLst>
                            <p:childTnLst>
                              <p:par>
                                <p:cTn id="16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0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1" fill="hold">
                            <p:stCondLst>
                              <p:cond delay="33280"/>
                            </p:stCondLst>
                            <p:childTnLst>
                              <p:par>
                                <p:cTn id="172" presetID="0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.00016 0.15 " pathEditMode="relative" ptsTypes="AA">
                                      <p:cBhvr>
                                        <p:cTn id="173" dur="2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74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.00016 0.15 " pathEditMode="relative" ptsTypes="AA">
                                      <p:cBhvr>
                                        <p:cTn id="175" dur="2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76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.00016 0.15 " pathEditMode="relative" ptsTypes="AA">
                                      <p:cBhvr>
                                        <p:cTn id="177" dur="2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8" fill="hold">
                            <p:stCondLst>
                              <p:cond delay="35280"/>
                            </p:stCondLst>
                            <p:childTnLst>
                              <p:par>
                                <p:cTn id="179" presetID="55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80" dur="1000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strVal val="ppt_w*0.7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1" dur="1000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strVal val="ppt_h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82" dur="10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3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4" presetID="55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85" dur="1000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strVal val="ppt_w*0.7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6" dur="1000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strVal val="ppt_h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87" dur="10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8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9" presetID="55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90" dur="1000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strVal val="ppt_w*0.7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1" dur="1000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strVal val="ppt_h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92" dur="10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3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4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6" dur="1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7" dur="1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8" dur="10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9" fill="hold">
                            <p:stCondLst>
                              <p:cond delay="36280"/>
                            </p:stCondLst>
                            <p:childTnLst>
                              <p:par>
                                <p:cTn id="20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2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3" fill="hold">
                            <p:stCondLst>
                              <p:cond delay="36780"/>
                            </p:stCondLst>
                            <p:childTnLst>
                              <p:par>
                                <p:cTn id="204" presetID="0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369 -0.00324 L -0.00353 0.15231 " pathEditMode="relative" rAng="0" ptsTypes="AA">
                                      <p:cBhvr>
                                        <p:cTn id="205" dur="2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777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6" fill="hold">
                            <p:stCondLst>
                              <p:cond delay="38780"/>
                            </p:stCondLst>
                            <p:childTnLst>
                              <p:par>
                                <p:cTn id="207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9" presetID="1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02564E-6 -1.85185E-6 C 0.0125 -1.85185E-6 0.02308 0.01181 0.02308 0.02685 C 0.02308 0.04167 0.0125 0.05371 1.02564E-6 0.05371 C -0.01298 0.05371 -0.02308 0.04167 -0.02308 0.02685 C -0.02308 0.01181 -0.01298 -1.85185E-6 1.02564E-6 -1.85185E-6 Z " pathEditMode="relative" rAng="0" ptsTypes="fffff">
                                      <p:cBhvr>
                                        <p:cTn id="210" dur="2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68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1" fill="hold">
                            <p:stCondLst>
                              <p:cond delay="40780"/>
                            </p:stCondLst>
                            <p:childTnLst>
                              <p:par>
                                <p:cTn id="212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3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1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7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0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1" fill="hold">
                            <p:stCondLst>
                              <p:cond delay="41280"/>
                            </p:stCondLst>
                            <p:childTnLst>
                              <p:par>
                                <p:cTn id="222" presetID="0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032 0.00023 L -0.05849 0.00023 L -0.05849 0.03495 L -0.12372 0.03495 " pathEditMode="relative" rAng="0" ptsTypes="AAAA">
                                      <p:cBhvr>
                                        <p:cTn id="223" dur="20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6170" y="1736"/>
                                    </p:animMotion>
                                  </p:childTnLst>
                                </p:cTn>
                              </p:par>
                              <p:par>
                                <p:cTn id="224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15462E-6 1.12858E-6 L 0.05368 1.12858E-6 L 0.05368 -0.57863 L 0.18315 -0.57678 L 0.18315 -0.50902 " pathEditMode="relative" ptsTypes="AAAAA">
                                      <p:cBhvr>
                                        <p:cTn id="225" dur="2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226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27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8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9" presetID="7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230" dur="2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chemeClr val="tx2"/>
                                      </p:to>
                                    </p:animClr>
                                    <p:set>
                                      <p:cBhvr>
                                        <p:cTn id="231" dur="2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2" fill="hold">
                            <p:stCondLst>
                              <p:cond delay="43280"/>
                            </p:stCondLst>
                            <p:childTnLst>
                              <p:par>
                                <p:cTn id="23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5" dur="20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6" presetID="53" presetClass="exit" presetSubtype="3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237" dur="500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8" dur="500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239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4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1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3" dur="10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4" dur="10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5" dur="10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6" fill="hold">
                            <p:stCondLst>
                              <p:cond delay="45280"/>
                            </p:stCondLst>
                            <p:childTnLst>
                              <p:par>
                                <p:cTn id="247" presetID="0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369 -0.00324 L -0.00353 0.15231 " pathEditMode="relative" rAng="0" ptsTypes="AA">
                                      <p:cBhvr>
                                        <p:cTn id="248" dur="20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777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9" fill="hold">
                            <p:stCondLst>
                              <p:cond delay="47280"/>
                            </p:stCondLst>
                            <p:childTnLst>
                              <p:par>
                                <p:cTn id="250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2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6.92197E-7 -6.47549E-6 L 0.00128 0.06752 " pathEditMode="relative" ptsTypes="AA">
                                      <p:cBhvr>
                                        <p:cTn id="253" dur="20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25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6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7" fill="hold">
                            <p:stCondLst>
                              <p:cond delay="49280"/>
                            </p:stCondLst>
                            <p:childTnLst>
                              <p:par>
                                <p:cTn id="258" presetID="0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288 3.76503E-6 L -0.05928 -0.00185 L -0.06201 0.38575 L -0.36789 0.38575 L -0.36789 0.33603 " pathEditMode="relative" rAng="0" ptsTypes="AAAAA">
                                      <p:cBhvr>
                                        <p:cTn id="259" dur="20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8250" y="19195"/>
                                    </p:animMotion>
                                  </p:childTnLst>
                                </p:cTn>
                              </p:par>
                              <p:par>
                                <p:cTn id="260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352 0.1524 L -0.00336 0.32932 " pathEditMode="relative" ptsTypes="AA">
                                      <p:cBhvr>
                                        <p:cTn id="261" dur="20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2" fill="hold">
                            <p:stCondLst>
                              <p:cond delay="51280"/>
                            </p:stCondLst>
                            <p:childTnLst>
                              <p:par>
                                <p:cTn id="263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5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92437E-6 -3.52451E-6 L 0.11985 0.00023 " pathEditMode="relative" ptsTypes="AA">
                                      <p:cBhvr>
                                        <p:cTn id="266" dur="20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267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9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0" fill="hold">
                            <p:stCondLst>
                              <p:cond delay="53280"/>
                            </p:stCondLst>
                            <p:childTnLst>
                              <p:par>
                                <p:cTn id="271" presetID="0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144 -3.53377E-6 L -0.04823 -0.00185 L -0.05095 0.23682 L -0.35812 0.23682 L -0.35812 0.16305 " pathEditMode="relative" rAng="0" ptsTypes="AAAAA">
                                      <p:cBhvr>
                                        <p:cTn id="272" dur="20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834" y="1174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3" fill="hold">
                            <p:stCondLst>
                              <p:cond delay="55280"/>
                            </p:stCondLst>
                            <p:childTnLst>
                              <p:par>
                                <p:cTn id="274" presetID="0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337 0.32933 L -0.00321 0.47641 " pathEditMode="relative" ptsTypes="AA">
                                      <p:cBhvr>
                                        <p:cTn id="275" dur="20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6" fill="hold">
                            <p:stCondLst>
                              <p:cond delay="57280"/>
                            </p:stCondLst>
                            <p:childTnLst>
                              <p:par>
                                <p:cTn id="277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9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0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1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2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4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5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6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7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9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0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1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2" fill="hold">
                            <p:stCondLst>
                              <p:cond delay="57780"/>
                            </p:stCondLst>
                            <p:childTnLst>
                              <p:par>
                                <p:cTn id="293" presetID="0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02211E-6 4.90287E-7 L -0.10046 0.00208 " pathEditMode="relative" rAng="0" ptsTypes="AA">
                                      <p:cBhvr>
                                        <p:cTn id="294" dur="20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031" y="93"/>
                                    </p:animMotion>
                                  </p:childTnLst>
                                </p:cTn>
                              </p:par>
                              <p:par>
                                <p:cTn id="295" presetID="0" presetClass="path" presetSubtype="0" accel="50000" decel="5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1.38439E-6 -8.03885E-6 L 0.00016 -0.59436 " pathEditMode="relative" ptsTypes="AA">
                                      <p:cBhvr>
                                        <p:cTn id="296" dur="2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7" fill="hold">
                            <p:stCondLst>
                              <p:cond delay="60780"/>
                            </p:stCondLst>
                            <p:childTnLst>
                              <p:par>
                                <p:cTn id="298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0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01" dur="1000" tmFilter="0, 0; .2, .5; .8, .5; 1, 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02" dur="500" autoRev="1" fill="hold"/>
                                        <p:tgtEl>
                                          <p:spTgt spid="7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3" fill="hold">
                            <p:stCondLst>
                              <p:cond delay="61780"/>
                            </p:stCondLst>
                            <p:childTnLst>
                              <p:par>
                                <p:cTn id="304" presetID="0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016 -0.59436 L 0.0415 -0.59436 L 0.04295 0.06175 L 0.10079 0.06175 " pathEditMode="relative" ptsTypes="AAAA">
                                      <p:cBhvr>
                                        <p:cTn id="305" dur="2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6" fill="hold">
                            <p:stCondLst>
                              <p:cond delay="63780"/>
                            </p:stCondLst>
                            <p:childTnLst>
                              <p:par>
                                <p:cTn id="307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9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10" dur="1000" tmFilter="0, 0; .2, .5; .8, .5; 1, 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11" dur="500" autoRev="1" fill="hold"/>
                                        <p:tgtEl>
                                          <p:spTgt spid="8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2" fill="hold">
                            <p:stCondLst>
                              <p:cond delay="64780"/>
                            </p:stCondLst>
                            <p:childTnLst>
                              <p:par>
                                <p:cTn id="313" presetID="0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321 0.4764 L -0.00321 0.53399 L 0.11809 0.53399 L 0.11809 -0.07239 L 0.23922 -0.07239 L 0.23922 0.05087 " pathEditMode="relative" ptsTypes="AAAAAA">
                                      <p:cBhvr>
                                        <p:cTn id="314" dur="20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315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16" dur="20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17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0" dur="20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1" fill="hold">
                            <p:stCondLst>
                              <p:cond delay="66780"/>
                            </p:stCondLst>
                            <p:childTnLst>
                              <p:par>
                                <p:cTn id="322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6" fill="hold">
                            <p:stCondLst>
                              <p:cond delay="66780"/>
                            </p:stCondLst>
                            <p:childTnLst>
                              <p:par>
                                <p:cTn id="327" presetID="12" presetClass="exit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328" dur="500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#ppt_h*1.125000"/>
                                          </p:val>
                                        </p:tav>
                                      </p:tavLst>
                                    </p:anim>
                                    <p:animEffect transition="out" filter="wipe(down)">
                                      <p:cBhvr>
                                        <p:cTn id="329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3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1" fill="hold">
                            <p:stCondLst>
                              <p:cond delay="67280"/>
                            </p:stCondLst>
                            <p:childTnLst>
                              <p:par>
                                <p:cTn id="332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34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5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36" dur="20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37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8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1" presetID="26" presetClass="emph" presetSubtype="0" repeatCount="indefinite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42" dur="2000" tmFilter="0, 0; .2, .5; .8, .5; 1, 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43" dur="1000" autoRev="1" fill="hold"/>
                                        <p:tgtEl>
                                          <p:spTgt spid="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344" presetID="7" presetClass="emph" presetSubtype="2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Clr clrSpc="rgb" dir="cw">
                                      <p:cBhvr>
                                        <p:cTn id="345" dur="20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rgbClr val="00B050"/>
                                      </p:to>
                                    </p:animClr>
                                    <p:set>
                                      <p:cBhvr>
                                        <p:cTn id="346" dur="20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7" presetID="1" presetClass="emph" presetSubtype="2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Clr clrSpc="rgb" dir="cw">
                                      <p:cBhvr>
                                        <p:cTn id="348" dur="20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B050"/>
                                      </p:to>
                                    </p:animClr>
                                    <p:set>
                                      <p:cBhvr>
                                        <p:cTn id="349" dur="20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350" dur="20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1" presetID="53" presetClass="entr" presetSubtype="16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3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4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55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6" presetID="53" presetClass="entr" presetSubtype="16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8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9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60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1" presetID="53" presetClass="entr" presetSubtype="16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63" dur="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4" dur="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65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6" fill="hold">
                            <p:stCondLst>
                              <p:cond delay="69780"/>
                            </p:stCondLst>
                            <p:childTnLst>
                              <p:par>
                                <p:cTn id="367" presetID="0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7.69231E-7 -1.48148E-6 L -0.0008 -0.33264 " pathEditMode="relative" rAng="0" ptsTypes="AA">
                                      <p:cBhvr>
                                        <p:cTn id="368" dur="2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48" y="-16644"/>
                                    </p:animMotion>
                                  </p:childTnLst>
                                </p:cTn>
                              </p:par>
                              <p:par>
                                <p:cTn id="369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5.88047E-7 -4.53284E-7 L -0.04198 -0.00185 L -0.04198 0.37812 L -0.73145 0.37812 L -0.73145 0.30319 " pathEditMode="relative" rAng="0" ptsTypes="AAAAA">
                                      <p:cBhvr>
                                        <p:cTn id="370" dur="2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6581" y="18802"/>
                                    </p:animMotion>
                                  </p:childTnLst>
                                </p:cTn>
                              </p:par>
                              <p:par>
                                <p:cTn id="371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64017E-6 2.39593E-6 L 0.00016 0.34852 " pathEditMode="relative" ptsTypes="AA">
                                      <p:cBhvr>
                                        <p:cTn id="372" dur="20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3" fill="hold">
                            <p:stCondLst>
                              <p:cond delay="71780"/>
                            </p:stCondLst>
                            <p:childTnLst>
                              <p:par>
                                <p:cTn id="374" presetID="53" presetClass="exit" presetSubtype="3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375" dur="500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6" dur="500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377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7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9" presetID="53" presetClass="exit" presetSubtype="3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380" dur="500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1" dur="500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382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8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4" presetID="53" presetClass="exit" presetSubtype="3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385" dur="500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6" dur="500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387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8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9" fill="hold">
                      <p:stCondLst>
                        <p:cond delay="indefinite"/>
                      </p:stCondLst>
                      <p:childTnLst>
                        <p:par>
                          <p:cTn id="390" fill="hold">
                            <p:stCondLst>
                              <p:cond delay="0"/>
                            </p:stCondLst>
                            <p:childTnLst>
                              <p:par>
                                <p:cTn id="39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9" fill="hold">
                            <p:stCondLst>
                              <p:cond delay="0"/>
                            </p:stCondLst>
                            <p:childTnLst>
                              <p:par>
                                <p:cTn id="42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2" dur="500"/>
                                        <p:tgtEl>
                                          <p:spTgt spid="1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5" dur="500"/>
                                        <p:tgtEl>
                                          <p:spTgt spid="1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8" dur="500"/>
                                        <p:tgtEl>
                                          <p:spTgt spid="1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1" dur="50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4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7" dur="500"/>
                                        <p:tgtEl>
                                          <p:spTgt spid="1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0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3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3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6" dur="500"/>
                                        <p:tgtEl>
                                          <p:spTgt spid="1413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9" dur="500"/>
                                        <p:tgtEl>
                                          <p:spTgt spid="1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2" dur="500"/>
                                        <p:tgtEl>
                                          <p:spTgt spid="1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5" dur="500"/>
                                        <p:tgtEl>
                                          <p:spTgt spid="1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8" dur="500"/>
                                        <p:tgtEl>
                                          <p:spTgt spid="1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1" dur="500"/>
                                        <p:tgtEl>
                                          <p:spTgt spid="1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4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7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0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3" dur="500"/>
                                        <p:tgtEl>
                                          <p:spTgt spid="1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6" dur="500"/>
                                        <p:tgtEl>
                                          <p:spTgt spid="1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9" dur="500"/>
                                        <p:tgtEl>
                                          <p:spTgt spid="1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2" dur="500"/>
                                        <p:tgtEl>
                                          <p:spTgt spid="1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5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5" dur="500"/>
                                        <p:tgtEl>
                                          <p:spTgt spid="1515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8" dur="500"/>
                                        <p:tgtEl>
                                          <p:spTgt spid="1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5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1" dur="500"/>
                                        <p:tgtEl>
                                          <p:spTgt spid="1515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2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9" grpId="0" animBg="1"/>
      <p:bldP spid="9" grpId="1" animBg="1"/>
      <p:bldP spid="12" grpId="0" animBg="1"/>
      <p:bldP spid="12" grpId="1" animBg="1"/>
      <p:bldP spid="57" grpId="0" animBg="1"/>
      <p:bldP spid="57" grpId="1" animBg="1"/>
      <p:bldP spid="78" grpId="0" animBg="1"/>
      <p:bldP spid="78" grpId="1" animBg="1"/>
      <p:bldP spid="116" grpId="0" animBg="1"/>
      <p:bldP spid="117" grpId="0" animBg="1"/>
      <p:bldP spid="118" grpId="0" animBg="1"/>
      <p:bldP spid="119" grpId="0" animBg="1"/>
      <p:bldP spid="120" grpId="0" animBg="1"/>
      <p:bldP spid="121" grpId="0" animBg="1"/>
      <p:bldP spid="122" grpId="0" animBg="1"/>
      <p:bldP spid="123" grpId="0" animBg="1"/>
      <p:bldP spid="124" grpId="0" animBg="1"/>
      <p:bldP spid="125" grpId="0" animBg="1"/>
      <p:bldP spid="126" grpId="0" animBg="1"/>
      <p:bldP spid="127" grpId="0" animBg="1"/>
      <p:bldP spid="128" grpId="0" animBg="1"/>
      <p:bldP spid="129" grpId="0" animBg="1"/>
      <p:bldP spid="95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heme/theme1.xml><?xml version="1.0" encoding="utf-8"?>
<a:theme xmlns:a="http://schemas.openxmlformats.org/drawingml/2006/main" name="1_Capgemini2021">
  <a:themeElements>
    <a:clrScheme name="Capgemini 2021">
      <a:dk1>
        <a:sysClr val="windowText" lastClr="000000"/>
      </a:dk1>
      <a:lt1>
        <a:srgbClr val="FFFFFF"/>
      </a:lt1>
      <a:dk2>
        <a:srgbClr val="000000"/>
      </a:dk2>
      <a:lt2>
        <a:srgbClr val="ECECEC"/>
      </a:lt2>
      <a:accent1>
        <a:srgbClr val="0070AD"/>
      </a:accent1>
      <a:accent2>
        <a:srgbClr val="12ABDB"/>
      </a:accent2>
      <a:accent3>
        <a:srgbClr val="2B0A3D"/>
      </a:accent3>
      <a:accent4>
        <a:srgbClr val="272936"/>
      </a:accent4>
      <a:accent5>
        <a:srgbClr val="0F878A"/>
      </a:accent5>
      <a:accent6>
        <a:srgbClr val="14596B"/>
      </a:accent6>
      <a:hlink>
        <a:srgbClr val="00929B"/>
      </a:hlink>
      <a:folHlink>
        <a:srgbClr val="00E6E3"/>
      </a:folHlink>
    </a:clrScheme>
    <a:fontScheme name="Capgemini 2021">
      <a:majorFont>
        <a:latin typeface="Ubuntu Medium"/>
        <a:ea typeface=""/>
        <a:cs typeface=""/>
      </a:majorFont>
      <a:minorFont>
        <a:latin typeface="Ubuntu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Green A">
      <a:srgbClr val="57CF80"/>
    </a:custClr>
    <a:custClr name="Green B">
      <a:srgbClr val="33B569"/>
    </a:custClr>
    <a:custClr name="Green C">
      <a:srgbClr val="2EA657"/>
    </a:custClr>
    <a:custClr name="Green D">
      <a:srgbClr val="178C3D"/>
    </a:custClr>
    <a:custClr name="Green E">
      <a:srgbClr val="176036"/>
    </a:custClr>
    <a:custClr name="Teal A">
      <a:srgbClr val="00E6E3"/>
    </a:custClr>
    <a:custClr name="Teal B">
      <a:srgbClr val="00D5D0"/>
    </a:custClr>
    <a:custClr name="Teal C">
      <a:srgbClr val="00BFBF"/>
    </a:custClr>
    <a:custClr name="Teal D">
      <a:srgbClr val="00929B"/>
    </a:custClr>
    <a:custClr name="Teal E">
      <a:srgbClr val="007D74"/>
    </a:custClr>
    <a:custClr name="Peacock A">
      <a:srgbClr val="00E0CB"/>
    </a:custClr>
    <a:custClr name="Peacock B">
      <a:srgbClr val="00B2A2"/>
    </a:custClr>
    <a:custClr name="Peacock C">
      <a:srgbClr val="0F878A"/>
    </a:custClr>
    <a:custClr name="Peacock D">
      <a:srgbClr val="0F6A73"/>
    </a:custClr>
    <a:custClr name="Peacock E">
      <a:srgbClr val="0F434A"/>
    </a:custClr>
    <a:custClr name="Sapphire A">
      <a:srgbClr val="338091"/>
    </a:custClr>
    <a:custClr name="Sapphire B">
      <a:srgbClr val="336B7D"/>
    </a:custClr>
    <a:custClr name="Sapphire C">
      <a:srgbClr val="14596B"/>
    </a:custClr>
    <a:custClr name="Sapphire D">
      <a:srgbClr val="214554"/>
    </a:custClr>
    <a:custClr name="Sapphire E">
      <a:srgbClr val="173340"/>
    </a:custClr>
    <a:custClr name="Violet A">
      <a:srgbClr val="E557AD"/>
    </a:custClr>
    <a:custClr name="Violet B">
      <a:srgbClr val="D13A8C"/>
    </a:custClr>
    <a:custClr name="Violet C">
      <a:srgbClr val="BA2980"/>
    </a:custClr>
    <a:custClr name="Violet D">
      <a:srgbClr val="A12980"/>
    </a:custClr>
    <a:custClr name="Violet E">
      <a:srgbClr val="811B6F"/>
    </a:custClr>
    <a:custClr name="Yellow A">
      <a:srgbClr val="FFDA80"/>
    </a:custClr>
    <a:custClr name="Yellow B">
      <a:srgbClr val="FFD068"/>
    </a:custClr>
    <a:custClr name="Yellow C">
      <a:srgbClr val="FFB24A"/>
    </a:custClr>
    <a:custClr name="Yellow D">
      <a:srgbClr val="FF9C29"/>
    </a:custClr>
    <a:custClr name="Yellow E">
      <a:srgbClr val="FF8E12"/>
    </a:custClr>
    <a:custClr name="Velvet A">
      <a:srgbClr val="9E4780"/>
    </a:custClr>
    <a:custClr name="Velvet B">
      <a:srgbClr val="802B73"/>
    </a:custClr>
    <a:custClr name="Velvet C">
      <a:srgbClr val="750D5C"/>
    </a:custClr>
    <a:custClr name="Velvet D">
      <a:srgbClr val="590A42"/>
    </a:custClr>
    <a:custClr name="Velvet E">
      <a:srgbClr val="42142E"/>
    </a:custClr>
    <a:custClr name="Red A">
      <a:srgbClr val="FF5770"/>
    </a:custClr>
    <a:custClr name="Red B">
      <a:srgbClr val="FF455E"/>
    </a:custClr>
    <a:custClr name="Red C">
      <a:srgbClr val="FF304D"/>
    </a:custClr>
    <a:custClr name="Red D">
      <a:srgbClr val="E30021"/>
    </a:custClr>
    <a:custClr name="Red E">
      <a:srgbClr val="A6001A"/>
    </a:custClr>
  </a:custClrLst>
  <a:extLst>
    <a:ext uri="{05A4C25C-085E-4340-85A3-A5531E510DB2}">
      <thm15:themeFamily xmlns:thm15="http://schemas.microsoft.com/office/thememl/2012/main" name="Capgemini Template.potx" id="{CBFF93A5-2DF8-4330-839D-D3D65D7386C8}" vid="{B804656F-51A1-4CCF-9635-ED739E54375F}"/>
    </a:ext>
  </a:extLst>
</a:theme>
</file>

<file path=ppt/theme/theme2.xml><?xml version="1.0" encoding="utf-8"?>
<a:theme xmlns:a="http://schemas.openxmlformats.org/drawingml/2006/main" name="3_Capgemini Master 2021">
  <a:themeElements>
    <a:clrScheme name="Capgemini 2021">
      <a:dk1>
        <a:sysClr val="windowText" lastClr="000000"/>
      </a:dk1>
      <a:lt1>
        <a:srgbClr val="FFFFFF"/>
      </a:lt1>
      <a:dk2>
        <a:srgbClr val="000000"/>
      </a:dk2>
      <a:lt2>
        <a:srgbClr val="ECECEC"/>
      </a:lt2>
      <a:accent1>
        <a:srgbClr val="0070AD"/>
      </a:accent1>
      <a:accent2>
        <a:srgbClr val="12ABDB"/>
      </a:accent2>
      <a:accent3>
        <a:srgbClr val="2B0A3D"/>
      </a:accent3>
      <a:accent4>
        <a:srgbClr val="272936"/>
      </a:accent4>
      <a:accent5>
        <a:srgbClr val="0F878A"/>
      </a:accent5>
      <a:accent6>
        <a:srgbClr val="14596B"/>
      </a:accent6>
      <a:hlink>
        <a:srgbClr val="00929B"/>
      </a:hlink>
      <a:folHlink>
        <a:srgbClr val="00E6E3"/>
      </a:folHlink>
    </a:clrScheme>
    <a:fontScheme name="Capgemini 2021">
      <a:majorFont>
        <a:latin typeface="Ubuntu Medium"/>
        <a:ea typeface=""/>
        <a:cs typeface=""/>
      </a:majorFont>
      <a:minorFont>
        <a:latin typeface="Ubuntu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on1" id="{9E5C14D1-8B45-49A3-A215-73CCEA440B88}" vid="{0F19A17E-C99C-42BD-9324-D38339B245D0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531A23322F9FD479DF9D54484D53507" ma:contentTypeVersion="13" ma:contentTypeDescription="Create a new document." ma:contentTypeScope="" ma:versionID="dc4e156d98b4264e3e3414a2b2a081fc">
  <xsd:schema xmlns:xsd="http://www.w3.org/2001/XMLSchema" xmlns:xs="http://www.w3.org/2001/XMLSchema" xmlns:p="http://schemas.microsoft.com/office/2006/metadata/properties" xmlns:ns2="fca9082f-bf6b-4581-9e7d-491c835a7a7b" xmlns:ns3="d87330f7-2964-4b02-8779-8a5b930c628f" targetNamespace="http://schemas.microsoft.com/office/2006/metadata/properties" ma:root="true" ma:fieldsID="a11f16cede9c960cf4a935e7fca3d95a" ns2:_="" ns3:_="">
    <xsd:import namespace="fca9082f-bf6b-4581-9e7d-491c835a7a7b"/>
    <xsd:import namespace="d87330f7-2964-4b02-8779-8a5b930c628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SearchProperties" minOccurs="0"/>
                <xsd:element ref="ns2:lcf76f155ced4ddcb4097134ff3c332f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ca9082f-bf6b-4581-9e7d-491c835a7a7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b3623ea3-be23-4189-a25b-bcadb097ef1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9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87330f7-2964-4b02-8779-8a5b930c628f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fca9082f-bf6b-4581-9e7d-491c835a7a7b">
      <Terms xmlns="http://schemas.microsoft.com/office/infopath/2007/PartnerControls"/>
    </lcf76f155ced4ddcb4097134ff3c332f>
    <SharedWithUsers xmlns="d87330f7-2964-4b02-8779-8a5b930c628f">
      <UserInfo>
        <DisplayName>Puri, Baibhav</DisplayName>
        <AccountId>57</AccountId>
        <AccountType/>
      </UserInfo>
      <UserInfo>
        <DisplayName>Yasar, Ismail</DisplayName>
        <AccountId>58</AccountId>
        <AccountType/>
      </UserInfo>
      <UserInfo>
        <DisplayName>Telang, Bhagyashree</DisplayName>
        <AccountId>59</AccountId>
        <AccountType/>
      </UserInfo>
      <UserInfo>
        <DisplayName>Savarimuthu, Johnson</DisplayName>
        <AccountId>60</AccountId>
        <AccountType/>
      </UserInfo>
      <UserInfo>
        <DisplayName>REPALLI, ACHYUTH</DisplayName>
        <AccountId>61</AccountId>
        <AccountType/>
      </UserInfo>
      <UserInfo>
        <DisplayName>Masanal, Ravikanth</DisplayName>
        <AccountId>62</AccountId>
        <AccountType/>
      </UserInfo>
      <UserInfo>
        <DisplayName>Yedlapalli, Ravi Krishna</DisplayName>
        <AccountId>63</AccountId>
        <AccountType/>
      </UserInfo>
      <UserInfo>
        <DisplayName>Patil, Suhas</DisplayName>
        <AccountId>17</AccountId>
        <AccountType/>
      </UserInfo>
      <UserInfo>
        <DisplayName>Vemulapati, Rohini</DisplayName>
        <AccountId>38</AccountId>
        <AccountType/>
      </UserInfo>
      <UserInfo>
        <DisplayName>Karuppuswamy, Mahesh</DisplayName>
        <AccountId>23</AccountId>
        <AccountType/>
      </UserInfo>
      <UserInfo>
        <DisplayName>Nanjan, Sudhakar</DisplayName>
        <AccountId>21</AccountId>
        <AccountType/>
      </UserInfo>
      <UserInfo>
        <DisplayName>Bagewadi, PRASHANT BAGEWADI</DisplayName>
        <AccountId>19</AccountId>
        <AccountType/>
      </UserInfo>
      <UserInfo>
        <DisplayName>SOPALLI, VENKATA SURESH BABU</DisplayName>
        <AccountId>39</AccountId>
        <AccountType/>
      </UserInfo>
      <UserInfo>
        <DisplayName>Somani, Abhishek</DisplayName>
        <AccountId>40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B5195583-3FC0-4CF1-A649-8DCC305F05AD}">
  <ds:schemaRefs>
    <ds:schemaRef ds:uri="d87330f7-2964-4b02-8779-8a5b930c628f"/>
    <ds:schemaRef ds:uri="fca9082f-bf6b-4581-9e7d-491c835a7a7b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903234F1-78B2-4905-87E6-ACE02E5B431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25C8870-277E-4D06-B21A-0B881FDFF0E2}">
  <ds:schemaRefs>
    <ds:schemaRef ds:uri="d87330f7-2964-4b02-8779-8a5b930c628f"/>
    <ds:schemaRef ds:uri="fca9082f-bf6b-4581-9e7d-491c835a7a7b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27</Words>
  <Application>Microsoft Office PowerPoint</Application>
  <PresentationFormat>Widescreen</PresentationFormat>
  <Paragraphs>46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Calibri</vt:lpstr>
      <vt:lpstr>Ubuntu</vt:lpstr>
      <vt:lpstr>Ubuntu Light</vt:lpstr>
      <vt:lpstr>Ubuntu Medium</vt:lpstr>
      <vt:lpstr>Wingdings</vt:lpstr>
      <vt:lpstr>1_Capgemini2021</vt:lpstr>
      <vt:lpstr>3_Capgemini Master 2021</vt:lpstr>
      <vt:lpstr>think-cell Slide</vt:lpstr>
      <vt:lpstr>DevOps Automation View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anjoo, Vandana</dc:creator>
  <cp:lastModifiedBy>Patil, Suhas</cp:lastModifiedBy>
  <cp:revision>3</cp:revision>
  <dcterms:created xsi:type="dcterms:W3CDTF">2023-08-07T14:22:04Z</dcterms:created>
  <dcterms:modified xsi:type="dcterms:W3CDTF">2024-05-14T14:14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531A23322F9FD479DF9D54484D53507</vt:lpwstr>
  </property>
  <property fmtid="{D5CDD505-2E9C-101B-9397-08002B2CF9AE}" pid="3" name="Order">
    <vt:r8>16800</vt:r8>
  </property>
  <property fmtid="{D5CDD505-2E9C-101B-9397-08002B2CF9AE}" pid="4" name="xd_Signature">
    <vt:bool>false</vt:bool>
  </property>
  <property fmtid="{D5CDD505-2E9C-101B-9397-08002B2CF9AE}" pid="5" name="xd_ProgID">
    <vt:lpwstr/>
  </property>
  <property fmtid="{D5CDD505-2E9C-101B-9397-08002B2CF9AE}" pid="6" name="ComplianceAssetId">
    <vt:lpwstr/>
  </property>
  <property fmtid="{D5CDD505-2E9C-101B-9397-08002B2CF9AE}" pid="7" name="TemplateUrl">
    <vt:lpwstr/>
  </property>
  <property fmtid="{D5CDD505-2E9C-101B-9397-08002B2CF9AE}" pid="8" name="_ExtendedDescription">
    <vt:lpwstr/>
  </property>
  <property fmtid="{D5CDD505-2E9C-101B-9397-08002B2CF9AE}" pid="9" name="TriggerFlowInfo">
    <vt:lpwstr/>
  </property>
  <property fmtid="{D5CDD505-2E9C-101B-9397-08002B2CF9AE}" pid="10" name="MediaServiceImageTags">
    <vt:lpwstr/>
  </property>
</Properties>
</file>